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4.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xml" ContentType="application/vnd.openxmlformats-officedocument.presentationml.notesSlide+xml"/>
  <Override PartName="/ppt/tags/tag86.xml" ContentType="application/vnd.openxmlformats-officedocument.presentationml.tags+xml"/>
  <Override PartName="/ppt/notesSlides/notesSlide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6.xml" ContentType="application/vnd.openxmlformats-officedocument.presentationml.notesSlide+xml"/>
  <Override PartName="/ppt/tags/tag91.xml" ContentType="application/vnd.openxmlformats-officedocument.presentationml.tags+xml"/>
  <Override PartName="/ppt/notesSlides/notesSlide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3" r:id="rId2"/>
    <p:sldMasterId id="2147483692" r:id="rId3"/>
  </p:sldMasterIdLst>
  <p:notesMasterIdLst>
    <p:notesMasterId r:id="rId14"/>
  </p:notesMasterIdLst>
  <p:sldIdLst>
    <p:sldId id="306" r:id="rId4"/>
    <p:sldId id="305" r:id="rId5"/>
    <p:sldId id="321" r:id="rId6"/>
    <p:sldId id="322" r:id="rId7"/>
    <p:sldId id="319" r:id="rId8"/>
    <p:sldId id="324" r:id="rId9"/>
    <p:sldId id="329" r:id="rId10"/>
    <p:sldId id="330" r:id="rId11"/>
    <p:sldId id="335" r:id="rId12"/>
    <p:sldId id="337" r:id="rId13"/>
  </p:sldIdLst>
  <p:sldSz cx="12192000" cy="6858000"/>
  <p:notesSz cx="6858000" cy="9144000"/>
  <p:custDataLst>
    <p:tags r:id="rId15"/>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ppelgren Poblete, Cristina Makarena" initials="APCM" lastIdx="3" clrIdx="0">
    <p:extLst>
      <p:ext uri="{19B8F6BF-5375-455C-9EA6-DF929625EA0E}">
        <p15:presenceInfo xmlns:p15="http://schemas.microsoft.com/office/powerpoint/2012/main" userId="S-1-5-21-1078081533-854245398-1957994488-274872" providerId="AD"/>
      </p:ext>
    </p:extLst>
  </p:cmAuthor>
  <p:cmAuthor id="2" name="González Castillo, Camila Jesús" initials="GJ" lastIdx="1" clrIdx="1">
    <p:extLst>
      <p:ext uri="{19B8F6BF-5375-455C-9EA6-DF929625EA0E}">
        <p15:presenceInfo xmlns:p15="http://schemas.microsoft.com/office/powerpoint/2012/main" userId="S::cjgonzalezc@achs.cl::31736765-2b00-4d5d-9d65-70370390067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18"/>
    <a:srgbClr val="911340"/>
    <a:srgbClr val="346074"/>
    <a:srgbClr val="9A9A9A"/>
    <a:srgbClr val="EBEAEC"/>
    <a:srgbClr val="AEAEAE"/>
    <a:srgbClr val="086837"/>
    <a:srgbClr val="080707"/>
    <a:srgbClr val="A9D7B2"/>
    <a:srgbClr val="2582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EE94A0-12D7-2365-ECE8-DBC02EF6D3DD}" v="434" dt="2020-07-15T17:25:38.316"/>
    <p1510:client id="{32D71360-BD96-2FB5-48D6-C771B114B80B}" v="241" dt="2020-07-15T17:39:23.690"/>
    <p1510:client id="{350B5C41-ABF9-0AD5-F310-E6828101DB6D}" v="9" dt="2020-07-15T17:46:09.144"/>
    <p1510:client id="{39D77675-5CCC-C70F-B390-4BC40CD2309B}" v="1192" dt="2020-07-13T20:59:19.608"/>
    <p1510:client id="{3D395B79-5B53-B760-E40D-D0A07438A122}" v="50" dt="2020-07-15T17:39:20.321"/>
    <p1510:client id="{41C405B8-5062-10F6-CAA2-94B44308ACA3}" v="1224" dt="2020-07-14T18:00:10.300"/>
    <p1510:client id="{42A705D2-7C9A-D4C5-BBD2-B880BEB008A8}" v="31" dt="2020-07-15T16:39:23.612"/>
    <p1510:client id="{437A593B-5A07-74BD-BE18-F81169B83E04}" v="139" dt="2020-07-15T16:39:55.071"/>
    <p1510:client id="{46E226BB-D322-0836-2A22-6A7897702DB9}" v="1" dt="2020-07-13T21:17:34.675"/>
    <p1510:client id="{4B1ABF4F-321E-F814-652B-91DA28E216EC}" v="320" dt="2020-07-14T19:25:21.171"/>
    <p1510:client id="{4D48D504-BA49-9300-948B-A6249757E5A2}" v="24" dt="2020-07-14T14:32:06.494"/>
    <p1510:client id="{4EC420D3-8934-73B7-A8FA-1CD80388DB04}" v="2" dt="2020-07-14T21:32:50.256"/>
    <p1510:client id="{4FC90960-1B6F-9A72-D30C-5F24949ED247}" v="1" dt="2020-07-15T17:55:05.651"/>
    <p1510:client id="{6627FCAD-2215-EA94-9211-43917B31063C}" v="20" dt="2020-07-13T21:12:53.622"/>
    <p1510:client id="{87398A07-B66A-37B1-9F3B-4CB7B22BCFB0}" v="36" dt="2020-07-14T03:16:21.807"/>
    <p1510:client id="{917C6425-8DFE-35CE-85EF-95A72E93A5CC}" v="35" dt="2020-07-14T21:31:29.108"/>
    <p1510:client id="{A4A08954-D024-4755-60F5-385BEBC763E4}" v="2" dt="2020-07-15T15:37:55.223"/>
    <p1510:client id="{C7ED6129-87A7-36B9-281E-CE8EE2BDF4B3}" v="44" dt="2020-07-15T16:50:14.021"/>
    <p1510:client id="{E811E508-18E6-4CA6-6395-4FA3FFDDF367}" v="45" dt="2020-07-15T17:53:14.368"/>
    <p1510:client id="{ED9A8586-C2EA-EF30-DE99-77CA1C225DB3}" v="8" dt="2020-07-14T21:42:32.237"/>
  </p1510:revLst>
</p1510:revInfo>
</file>

<file path=ppt/tableStyles.xml><?xml version="1.0" encoding="utf-8"?>
<a:tblStyleLst xmlns:a="http://schemas.openxmlformats.org/drawingml/2006/main" def="{5C22544A-7EE6-4342-B048-85BDC9FD1C3A}">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0988" autoAdjust="0"/>
  </p:normalViewPr>
  <p:slideViewPr>
    <p:cSldViewPr snapToGrid="0">
      <p:cViewPr varScale="1">
        <p:scale>
          <a:sx n="50" d="100"/>
          <a:sy n="50" d="100"/>
        </p:scale>
        <p:origin x="1260" y="2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uentes Araya, Cristóbal Francisco" userId="S::cfuentesa@achs.cl::0e9e05e2-f2a9-4d96-a1bf-f516d16b267a" providerId="AD" clId="Web-{ED9A8586-C2EA-EF30-DE99-77CA1C225DB3}"/>
    <pc:docChg chg="modSld">
      <pc:chgData name="Fuentes Araya, Cristóbal Francisco" userId="S::cfuentesa@achs.cl::0e9e05e2-f2a9-4d96-a1bf-f516d16b267a" providerId="AD" clId="Web-{ED9A8586-C2EA-EF30-DE99-77CA1C225DB3}" dt="2020-07-14T21:42:32.237" v="6" actId="1076"/>
      <pc:docMkLst>
        <pc:docMk/>
      </pc:docMkLst>
      <pc:sldChg chg="addSp delSp modSp">
        <pc:chgData name="Fuentes Araya, Cristóbal Francisco" userId="S::cfuentesa@achs.cl::0e9e05e2-f2a9-4d96-a1bf-f516d16b267a" providerId="AD" clId="Web-{ED9A8586-C2EA-EF30-DE99-77CA1C225DB3}" dt="2020-07-14T21:42:32.237" v="6" actId="1076"/>
        <pc:sldMkLst>
          <pc:docMk/>
          <pc:sldMk cId="2896270308" sldId="293"/>
        </pc:sldMkLst>
        <pc:picChg chg="del">
          <ac:chgData name="Fuentes Araya, Cristóbal Francisco" userId="S::cfuentesa@achs.cl::0e9e05e2-f2a9-4d96-a1bf-f516d16b267a" providerId="AD" clId="Web-{ED9A8586-C2EA-EF30-DE99-77CA1C225DB3}" dt="2020-07-14T21:42:07.158" v="0"/>
          <ac:picMkLst>
            <pc:docMk/>
            <pc:sldMk cId="2896270308" sldId="293"/>
            <ac:picMk id="7" creationId="{0DD10756-A995-4118-BC00-DF2D08F4CB4E}"/>
          </ac:picMkLst>
        </pc:picChg>
        <pc:picChg chg="add mod">
          <ac:chgData name="Fuentes Araya, Cristóbal Francisco" userId="S::cfuentesa@achs.cl::0e9e05e2-f2a9-4d96-a1bf-f516d16b267a" providerId="AD" clId="Web-{ED9A8586-C2EA-EF30-DE99-77CA1C225DB3}" dt="2020-07-14T21:42:32.237" v="6" actId="1076"/>
          <ac:picMkLst>
            <pc:docMk/>
            <pc:sldMk cId="2896270308" sldId="293"/>
            <ac:picMk id="8" creationId="{8B825372-714E-4A5E-BF41-A7968371405A}"/>
          </ac:picMkLst>
        </pc:picChg>
      </pc:sldChg>
    </pc:docChg>
  </pc:docChgLst>
  <pc:docChgLst>
    <pc:chgData name="Fuentes Araya, Cristóbal Francisco" userId="S::cfuentesa@achs.cl::0e9e05e2-f2a9-4d96-a1bf-f516d16b267a" providerId="AD" clId="Web-{42A705D2-7C9A-D4C5-BBD2-B880BEB008A8}"/>
    <pc:docChg chg="modSld">
      <pc:chgData name="Fuentes Araya, Cristóbal Francisco" userId="S::cfuentesa@achs.cl::0e9e05e2-f2a9-4d96-a1bf-f516d16b267a" providerId="AD" clId="Web-{42A705D2-7C9A-D4C5-BBD2-B880BEB008A8}" dt="2020-07-15T16:39:14.784" v="1"/>
      <pc:docMkLst>
        <pc:docMk/>
      </pc:docMkLst>
      <pc:sldChg chg="addSp delSp modSp">
        <pc:chgData name="Fuentes Araya, Cristóbal Francisco" userId="S::cfuentesa@achs.cl::0e9e05e2-f2a9-4d96-a1bf-f516d16b267a" providerId="AD" clId="Web-{42A705D2-7C9A-D4C5-BBD2-B880BEB008A8}" dt="2020-07-15T16:39:14.784" v="1"/>
        <pc:sldMkLst>
          <pc:docMk/>
          <pc:sldMk cId="3472388858" sldId="284"/>
        </pc:sldMkLst>
        <pc:picChg chg="add del mod">
          <ac:chgData name="Fuentes Araya, Cristóbal Francisco" userId="S::cfuentesa@achs.cl::0e9e05e2-f2a9-4d96-a1bf-f516d16b267a" providerId="AD" clId="Web-{42A705D2-7C9A-D4C5-BBD2-B880BEB008A8}" dt="2020-07-15T16:39:14.784" v="1"/>
          <ac:picMkLst>
            <pc:docMk/>
            <pc:sldMk cId="3472388858" sldId="284"/>
            <ac:picMk id="7" creationId="{A85A1B1B-7308-4275-9E01-8BB522EDBD5D}"/>
          </ac:picMkLst>
        </pc:picChg>
      </pc:sldChg>
    </pc:docChg>
  </pc:docChgLst>
  <pc:docChgLst>
    <pc:chgData name="González Castillo, Camila Jesús" userId="S::cjgonzalezc@achs.cl::31736765-2b00-4d5d-9d65-70370390067e" providerId="AD" clId="Web-{39D77675-5CCC-C70F-B390-4BC40CD2309B}"/>
    <pc:docChg chg="addSld delSld modSld sldOrd">
      <pc:chgData name="González Castillo, Camila Jesús" userId="S::cjgonzalezc@achs.cl::31736765-2b00-4d5d-9d65-70370390067e" providerId="AD" clId="Web-{39D77675-5CCC-C70F-B390-4BC40CD2309B}" dt="2020-07-13T20:59:25.030" v="1257" actId="1076"/>
      <pc:docMkLst>
        <pc:docMk/>
      </pc:docMkLst>
      <pc:sldChg chg="modSp del modNotes">
        <pc:chgData name="González Castillo, Camila Jesús" userId="S::cjgonzalezc@achs.cl::31736765-2b00-4d5d-9d65-70370390067e" providerId="AD" clId="Web-{39D77675-5CCC-C70F-B390-4BC40CD2309B}" dt="2020-07-13T20:43:48.895" v="971"/>
        <pc:sldMkLst>
          <pc:docMk/>
          <pc:sldMk cId="2962874675" sldId="258"/>
        </pc:sldMkLst>
        <pc:graphicFrameChg chg="modGraphic">
          <ac:chgData name="González Castillo, Camila Jesús" userId="S::cjgonzalezc@achs.cl::31736765-2b00-4d5d-9d65-70370390067e" providerId="AD" clId="Web-{39D77675-5CCC-C70F-B390-4BC40CD2309B}" dt="2020-07-13T20:35:52.366" v="846" actId="20577"/>
          <ac:graphicFrameMkLst>
            <pc:docMk/>
            <pc:sldMk cId="2962874675" sldId="258"/>
            <ac:graphicFrameMk id="13" creationId="{9DDFB9E8-8D70-4910-82F3-45BB22A713FC}"/>
          </ac:graphicFrameMkLst>
        </pc:graphicFrameChg>
      </pc:sldChg>
      <pc:sldChg chg="modSp del">
        <pc:chgData name="González Castillo, Camila Jesús" userId="S::cjgonzalezc@achs.cl::31736765-2b00-4d5d-9d65-70370390067e" providerId="AD" clId="Web-{39D77675-5CCC-C70F-B390-4BC40CD2309B}" dt="2020-07-13T15:10:16.940" v="555"/>
        <pc:sldMkLst>
          <pc:docMk/>
          <pc:sldMk cId="376218207" sldId="259"/>
        </pc:sldMkLst>
        <pc:spChg chg="mod">
          <ac:chgData name="González Castillo, Camila Jesús" userId="S::cjgonzalezc@achs.cl::31736765-2b00-4d5d-9d65-70370390067e" providerId="AD" clId="Web-{39D77675-5CCC-C70F-B390-4BC40CD2309B}" dt="2020-07-13T15:05:05.950" v="366" actId="20577"/>
          <ac:spMkLst>
            <pc:docMk/>
            <pc:sldMk cId="376218207" sldId="259"/>
            <ac:spMk id="12" creationId="{14AECE5A-57E4-44C3-8E0A-97EC79E96BBA}"/>
          </ac:spMkLst>
        </pc:spChg>
      </pc:sldChg>
      <pc:sldChg chg="addSp delSp modSp addCm modNotes">
        <pc:chgData name="González Castillo, Camila Jesús" userId="S::cjgonzalezc@achs.cl::31736765-2b00-4d5d-9d65-70370390067e" providerId="AD" clId="Web-{39D77675-5CCC-C70F-B390-4BC40CD2309B}" dt="2020-07-13T20:43:26.160" v="969" actId="1076"/>
        <pc:sldMkLst>
          <pc:docMk/>
          <pc:sldMk cId="841501288" sldId="260"/>
        </pc:sldMkLst>
        <pc:spChg chg="mod">
          <ac:chgData name="González Castillo, Camila Jesús" userId="S::cjgonzalezc@achs.cl::31736765-2b00-4d5d-9d65-70370390067e" providerId="AD" clId="Web-{39D77675-5CCC-C70F-B390-4BC40CD2309B}" dt="2020-07-13T15:08:05.947" v="540" actId="20577"/>
          <ac:spMkLst>
            <pc:docMk/>
            <pc:sldMk cId="841501288" sldId="260"/>
            <ac:spMk id="2" creationId="{0B083409-52E7-4827-8BD6-6144913C7B86}"/>
          </ac:spMkLst>
        </pc:spChg>
        <pc:spChg chg="mod">
          <ac:chgData name="González Castillo, Camila Jesús" userId="S::cjgonzalezc@achs.cl::31736765-2b00-4d5d-9d65-70370390067e" providerId="AD" clId="Web-{39D77675-5CCC-C70F-B390-4BC40CD2309B}" dt="2020-07-13T20:43:26.160" v="969" actId="1076"/>
          <ac:spMkLst>
            <pc:docMk/>
            <pc:sldMk cId="841501288" sldId="260"/>
            <ac:spMk id="3" creationId="{889CC835-BC98-48D8-9F1C-949042B571D8}"/>
          </ac:spMkLst>
        </pc:spChg>
        <pc:spChg chg="add del mod">
          <ac:chgData name="González Castillo, Camila Jesús" userId="S::cjgonzalezc@achs.cl::31736765-2b00-4d5d-9d65-70370390067e" providerId="AD" clId="Web-{39D77675-5CCC-C70F-B390-4BC40CD2309B}" dt="2020-07-13T20:40:30.718" v="937"/>
          <ac:spMkLst>
            <pc:docMk/>
            <pc:sldMk cId="841501288" sldId="260"/>
            <ac:spMk id="6" creationId="{534E4C44-632C-42C0-B31D-3C6E1BAFEAB4}"/>
          </ac:spMkLst>
        </pc:spChg>
        <pc:spChg chg="del mod">
          <ac:chgData name="González Castillo, Camila Jesús" userId="S::cjgonzalezc@achs.cl::31736765-2b00-4d5d-9d65-70370390067e" providerId="AD" clId="Web-{39D77675-5CCC-C70F-B390-4BC40CD2309B}" dt="2020-07-13T20:40:14.873" v="929"/>
          <ac:spMkLst>
            <pc:docMk/>
            <pc:sldMk cId="841501288" sldId="260"/>
            <ac:spMk id="8" creationId="{5AB73174-453F-47E8-8A62-2D4DE3BE1E2D}"/>
          </ac:spMkLst>
        </pc:spChg>
        <pc:picChg chg="add del mod ord">
          <ac:chgData name="González Castillo, Camila Jesús" userId="S::cjgonzalezc@achs.cl::31736765-2b00-4d5d-9d65-70370390067e" providerId="AD" clId="Web-{39D77675-5CCC-C70F-B390-4BC40CD2309B}" dt="2020-07-13T20:43:15.613" v="965"/>
          <ac:picMkLst>
            <pc:docMk/>
            <pc:sldMk cId="841501288" sldId="260"/>
            <ac:picMk id="4" creationId="{4C87F22B-5917-407E-A045-9BF2A31EE2EF}"/>
          </ac:picMkLst>
        </pc:picChg>
        <pc:picChg chg="del">
          <ac:chgData name="González Castillo, Camila Jesús" userId="S::cjgonzalezc@achs.cl::31736765-2b00-4d5d-9d65-70370390067e" providerId="AD" clId="Web-{39D77675-5CCC-C70F-B390-4BC40CD2309B}" dt="2020-07-13T20:39:43.388" v="918"/>
          <ac:picMkLst>
            <pc:docMk/>
            <pc:sldMk cId="841501288" sldId="260"/>
            <ac:picMk id="7" creationId="{7336C7FE-0781-43B5-9F47-ACFC5231BFF5}"/>
          </ac:picMkLst>
        </pc:picChg>
        <pc:picChg chg="add del mod">
          <ac:chgData name="González Castillo, Camila Jesús" userId="S::cjgonzalezc@achs.cl::31736765-2b00-4d5d-9d65-70370390067e" providerId="AD" clId="Web-{39D77675-5CCC-C70F-B390-4BC40CD2309B}" dt="2020-07-13T20:43:23.410" v="968"/>
          <ac:picMkLst>
            <pc:docMk/>
            <pc:sldMk cId="841501288" sldId="260"/>
            <ac:picMk id="9" creationId="{610D9951-AD2F-47CC-9134-507FA6B44E4B}"/>
          </ac:picMkLst>
        </pc:picChg>
      </pc:sldChg>
      <pc:sldChg chg="delSp modSp del">
        <pc:chgData name="González Castillo, Camila Jesús" userId="S::cjgonzalezc@achs.cl::31736765-2b00-4d5d-9d65-70370390067e" providerId="AD" clId="Web-{39D77675-5CCC-C70F-B390-4BC40CD2309B}" dt="2020-07-13T15:10:20.628" v="556"/>
        <pc:sldMkLst>
          <pc:docMk/>
          <pc:sldMk cId="3259468741" sldId="261"/>
        </pc:sldMkLst>
        <pc:spChg chg="del">
          <ac:chgData name="González Castillo, Camila Jesús" userId="S::cjgonzalezc@achs.cl::31736765-2b00-4d5d-9d65-70370390067e" providerId="AD" clId="Web-{39D77675-5CCC-C70F-B390-4BC40CD2309B}" dt="2020-07-13T15:09:44.563" v="554"/>
          <ac:spMkLst>
            <pc:docMk/>
            <pc:sldMk cId="3259468741" sldId="261"/>
            <ac:spMk id="4" creationId="{B28223FE-A098-4239-96A0-03DE1D468609}"/>
          </ac:spMkLst>
        </pc:spChg>
        <pc:spChg chg="mod">
          <ac:chgData name="González Castillo, Camila Jesús" userId="S::cjgonzalezc@achs.cl::31736765-2b00-4d5d-9d65-70370390067e" providerId="AD" clId="Web-{39D77675-5CCC-C70F-B390-4BC40CD2309B}" dt="2020-07-13T15:09:39.859" v="553" actId="1076"/>
          <ac:spMkLst>
            <pc:docMk/>
            <pc:sldMk cId="3259468741" sldId="261"/>
            <ac:spMk id="9" creationId="{FB978FC8-10EF-41DE-BBAA-4891C9C6685A}"/>
          </ac:spMkLst>
        </pc:spChg>
        <pc:spChg chg="mod">
          <ac:chgData name="González Castillo, Camila Jesús" userId="S::cjgonzalezc@achs.cl::31736765-2b00-4d5d-9d65-70370390067e" providerId="AD" clId="Web-{39D77675-5CCC-C70F-B390-4BC40CD2309B}" dt="2020-07-13T15:09:33.124" v="552" actId="14100"/>
          <ac:spMkLst>
            <pc:docMk/>
            <pc:sldMk cId="3259468741" sldId="261"/>
            <ac:spMk id="10" creationId="{5B3515BA-A9E7-460E-8B08-FEFF741D3E83}"/>
          </ac:spMkLst>
        </pc:spChg>
        <pc:picChg chg="mod modCrop">
          <ac:chgData name="González Castillo, Camila Jesús" userId="S::cjgonzalezc@achs.cl::31736765-2b00-4d5d-9d65-70370390067e" providerId="AD" clId="Web-{39D77675-5CCC-C70F-B390-4BC40CD2309B}" dt="2020-07-13T15:09:24.358" v="550"/>
          <ac:picMkLst>
            <pc:docMk/>
            <pc:sldMk cId="3259468741" sldId="261"/>
            <ac:picMk id="8" creationId="{60326916-C299-4605-8A4D-53B383EF2BAA}"/>
          </ac:picMkLst>
        </pc:picChg>
      </pc:sldChg>
      <pc:sldChg chg="del">
        <pc:chgData name="González Castillo, Camila Jesús" userId="S::cjgonzalezc@achs.cl::31736765-2b00-4d5d-9d65-70370390067e" providerId="AD" clId="Web-{39D77675-5CCC-C70F-B390-4BC40CD2309B}" dt="2020-07-13T15:10:23.315" v="557"/>
        <pc:sldMkLst>
          <pc:docMk/>
          <pc:sldMk cId="2907076840" sldId="262"/>
        </pc:sldMkLst>
      </pc:sldChg>
      <pc:sldChg chg="del ord">
        <pc:chgData name="González Castillo, Camila Jesús" userId="S::cjgonzalezc@achs.cl::31736765-2b00-4d5d-9d65-70370390067e" providerId="AD" clId="Web-{39D77675-5CCC-C70F-B390-4BC40CD2309B}" dt="2020-07-13T20:16:59.398" v="803"/>
        <pc:sldMkLst>
          <pc:docMk/>
          <pc:sldMk cId="17848638" sldId="264"/>
        </pc:sldMkLst>
      </pc:sldChg>
      <pc:sldChg chg="del ord">
        <pc:chgData name="González Castillo, Camila Jesús" userId="S::cjgonzalezc@achs.cl::31736765-2b00-4d5d-9d65-70370390067e" providerId="AD" clId="Web-{39D77675-5CCC-C70F-B390-4BC40CD2309B}" dt="2020-07-13T20:17:03.617" v="804"/>
        <pc:sldMkLst>
          <pc:docMk/>
          <pc:sldMk cId="3292877747" sldId="265"/>
        </pc:sldMkLst>
      </pc:sldChg>
      <pc:sldChg chg="modSp del mod modShow">
        <pc:chgData name="González Castillo, Camila Jesús" userId="S::cjgonzalezc@achs.cl::31736765-2b00-4d5d-9d65-70370390067e" providerId="AD" clId="Web-{39D77675-5CCC-C70F-B390-4BC40CD2309B}" dt="2020-07-13T18:18:22.054" v="722"/>
        <pc:sldMkLst>
          <pc:docMk/>
          <pc:sldMk cId="652451476" sldId="266"/>
        </pc:sldMkLst>
        <pc:picChg chg="mod">
          <ac:chgData name="González Castillo, Camila Jesús" userId="S::cjgonzalezc@achs.cl::31736765-2b00-4d5d-9d65-70370390067e" providerId="AD" clId="Web-{39D77675-5CCC-C70F-B390-4BC40CD2309B}" dt="2020-07-13T16:11:57.193" v="568" actId="14100"/>
          <ac:picMkLst>
            <pc:docMk/>
            <pc:sldMk cId="652451476" sldId="266"/>
            <ac:picMk id="8" creationId="{46D8293B-B55E-4570-92CE-209E77021321}"/>
          </ac:picMkLst>
        </pc:picChg>
      </pc:sldChg>
      <pc:sldChg chg="del mod modShow">
        <pc:chgData name="González Castillo, Camila Jesús" userId="S::cjgonzalezc@achs.cl::31736765-2b00-4d5d-9d65-70370390067e" providerId="AD" clId="Web-{39D77675-5CCC-C70F-B390-4BC40CD2309B}" dt="2020-07-13T18:18:24.773" v="723"/>
        <pc:sldMkLst>
          <pc:docMk/>
          <pc:sldMk cId="1230955103" sldId="267"/>
        </pc:sldMkLst>
      </pc:sldChg>
      <pc:sldChg chg="del mod modShow">
        <pc:chgData name="González Castillo, Camila Jesús" userId="S::cjgonzalezc@achs.cl::31736765-2b00-4d5d-9d65-70370390067e" providerId="AD" clId="Web-{39D77675-5CCC-C70F-B390-4BC40CD2309B}" dt="2020-07-13T18:18:26.710" v="724"/>
        <pc:sldMkLst>
          <pc:docMk/>
          <pc:sldMk cId="3724153037" sldId="268"/>
        </pc:sldMkLst>
      </pc:sldChg>
      <pc:sldChg chg="delSp modSp del">
        <pc:chgData name="González Castillo, Camila Jesús" userId="S::cjgonzalezc@achs.cl::31736765-2b00-4d5d-9d65-70370390067e" providerId="AD" clId="Web-{39D77675-5CCC-C70F-B390-4BC40CD2309B}" dt="2020-07-13T20:57:38.840" v="1249"/>
        <pc:sldMkLst>
          <pc:docMk/>
          <pc:sldMk cId="1454393697" sldId="269"/>
        </pc:sldMkLst>
        <pc:spChg chg="mod">
          <ac:chgData name="González Castillo, Camila Jesús" userId="S::cjgonzalezc@achs.cl::31736765-2b00-4d5d-9d65-70370390067e" providerId="AD" clId="Web-{39D77675-5CCC-C70F-B390-4BC40CD2309B}" dt="2020-07-13T20:56:17.525" v="1230" actId="20577"/>
          <ac:spMkLst>
            <pc:docMk/>
            <pc:sldMk cId="1454393697" sldId="269"/>
            <ac:spMk id="5" creationId="{00000000-0000-0000-0000-000000000000}"/>
          </ac:spMkLst>
        </pc:spChg>
        <pc:picChg chg="del mod">
          <ac:chgData name="González Castillo, Camila Jesús" userId="S::cjgonzalezc@achs.cl::31736765-2b00-4d5d-9d65-70370390067e" providerId="AD" clId="Web-{39D77675-5CCC-C70F-B390-4BC40CD2309B}" dt="2020-07-13T20:55:09.976" v="1214"/>
          <ac:picMkLst>
            <pc:docMk/>
            <pc:sldMk cId="1454393697" sldId="269"/>
            <ac:picMk id="6" creationId="{00000000-0000-0000-0000-000000000000}"/>
          </ac:picMkLst>
        </pc:picChg>
      </pc:sldChg>
      <pc:sldChg chg="addSp modSp">
        <pc:chgData name="González Castillo, Camila Jesús" userId="S::cjgonzalezc@achs.cl::31736765-2b00-4d5d-9d65-70370390067e" providerId="AD" clId="Web-{39D77675-5CCC-C70F-B390-4BC40CD2309B}" dt="2020-07-13T20:57:35.777" v="1248"/>
        <pc:sldMkLst>
          <pc:docMk/>
          <pc:sldMk cId="2709228062" sldId="270"/>
        </pc:sldMkLst>
        <pc:spChg chg="mod">
          <ac:chgData name="González Castillo, Camila Jesús" userId="S::cjgonzalezc@achs.cl::31736765-2b00-4d5d-9d65-70370390067e" providerId="AD" clId="Web-{39D77675-5CCC-C70F-B390-4BC40CD2309B}" dt="2020-07-13T20:54:57.023" v="1212" actId="1076"/>
          <ac:spMkLst>
            <pc:docMk/>
            <pc:sldMk cId="2709228062" sldId="270"/>
            <ac:spMk id="7" creationId="{0EA39555-11C5-48FC-9A63-01D6DBDE5D84}"/>
          </ac:spMkLst>
        </pc:spChg>
        <pc:spChg chg="mod">
          <ac:chgData name="González Castillo, Camila Jesús" userId="S::cjgonzalezc@achs.cl::31736765-2b00-4d5d-9d65-70370390067e" providerId="AD" clId="Web-{39D77675-5CCC-C70F-B390-4BC40CD2309B}" dt="2020-07-13T20:54:36.381" v="1202" actId="1076"/>
          <ac:spMkLst>
            <pc:docMk/>
            <pc:sldMk cId="2709228062" sldId="270"/>
            <ac:spMk id="8" creationId="{00000000-0000-0000-0000-000000000000}"/>
          </ac:spMkLst>
        </pc:spChg>
        <pc:spChg chg="mod">
          <ac:chgData name="González Castillo, Camila Jesús" userId="S::cjgonzalezc@achs.cl::31736765-2b00-4d5d-9d65-70370390067e" providerId="AD" clId="Web-{39D77675-5CCC-C70F-B390-4BC40CD2309B}" dt="2020-07-13T20:55:02.351" v="1213" actId="1076"/>
          <ac:spMkLst>
            <pc:docMk/>
            <pc:sldMk cId="2709228062" sldId="270"/>
            <ac:spMk id="9" creationId="{00000000-0000-0000-0000-000000000000}"/>
          </ac:spMkLst>
        </pc:spChg>
        <pc:spChg chg="add mod">
          <ac:chgData name="González Castillo, Camila Jesús" userId="S::cjgonzalezc@achs.cl::31736765-2b00-4d5d-9d65-70370390067e" providerId="AD" clId="Web-{39D77675-5CCC-C70F-B390-4BC40CD2309B}" dt="2020-07-13T20:57:35.777" v="1248"/>
          <ac:spMkLst>
            <pc:docMk/>
            <pc:sldMk cId="2709228062" sldId="270"/>
            <ac:spMk id="12" creationId="{C09ADD00-D224-49D0-AFE8-9B804E3963D0}"/>
          </ac:spMkLst>
        </pc:spChg>
        <pc:picChg chg="add mod ord">
          <ac:chgData name="González Castillo, Camila Jesús" userId="S::cjgonzalezc@achs.cl::31736765-2b00-4d5d-9d65-70370390067e" providerId="AD" clId="Web-{39D77675-5CCC-C70F-B390-4BC40CD2309B}" dt="2020-07-13T20:56:34.182" v="1237" actId="14100"/>
          <ac:picMkLst>
            <pc:docMk/>
            <pc:sldMk cId="2709228062" sldId="270"/>
            <ac:picMk id="10" creationId="{A56AF499-7138-4EEC-B467-E038786B1751}"/>
          </ac:picMkLst>
        </pc:picChg>
      </pc:sldChg>
      <pc:sldChg chg="addSp delSp modSp">
        <pc:chgData name="González Castillo, Camila Jesús" userId="S::cjgonzalezc@achs.cl::31736765-2b00-4d5d-9d65-70370390067e" providerId="AD" clId="Web-{39D77675-5CCC-C70F-B390-4BC40CD2309B}" dt="2020-07-13T20:08:23.837" v="799" actId="1076"/>
        <pc:sldMkLst>
          <pc:docMk/>
          <pc:sldMk cId="2584740091" sldId="271"/>
        </pc:sldMkLst>
        <pc:spChg chg="mod">
          <ac:chgData name="González Castillo, Camila Jesús" userId="S::cjgonzalezc@achs.cl::31736765-2b00-4d5d-9d65-70370390067e" providerId="AD" clId="Web-{39D77675-5CCC-C70F-B390-4BC40CD2309B}" dt="2020-07-13T18:19:06.679" v="736" actId="20577"/>
          <ac:spMkLst>
            <pc:docMk/>
            <pc:sldMk cId="2584740091" sldId="271"/>
            <ac:spMk id="7" creationId="{00000000-0000-0000-0000-000000000000}"/>
          </ac:spMkLst>
        </pc:spChg>
        <pc:spChg chg="add mod">
          <ac:chgData name="González Castillo, Camila Jesús" userId="S::cjgonzalezc@achs.cl::31736765-2b00-4d5d-9d65-70370390067e" providerId="AD" clId="Web-{39D77675-5CCC-C70F-B390-4BC40CD2309B}" dt="2020-07-13T20:08:23.837" v="799" actId="1076"/>
          <ac:spMkLst>
            <pc:docMk/>
            <pc:sldMk cId="2584740091" sldId="271"/>
            <ac:spMk id="10" creationId="{3EFCD460-1EEE-4526-BB42-FAC0D7BDE204}"/>
          </ac:spMkLst>
        </pc:spChg>
        <pc:picChg chg="del">
          <ac:chgData name="González Castillo, Camila Jesús" userId="S::cjgonzalezc@achs.cl::31736765-2b00-4d5d-9d65-70370390067e" providerId="AD" clId="Web-{39D77675-5CCC-C70F-B390-4BC40CD2309B}" dt="2020-07-13T18:20:24.336" v="771"/>
          <ac:picMkLst>
            <pc:docMk/>
            <pc:sldMk cId="2584740091" sldId="271"/>
            <ac:picMk id="8" creationId="{00000000-0000-0000-0000-000000000000}"/>
          </ac:picMkLst>
        </pc:picChg>
        <pc:picChg chg="add mod ord">
          <ac:chgData name="González Castillo, Camila Jesús" userId="S::cjgonzalezc@achs.cl::31736765-2b00-4d5d-9d65-70370390067e" providerId="AD" clId="Web-{39D77675-5CCC-C70F-B390-4BC40CD2309B}" dt="2020-07-13T20:07:57.039" v="798" actId="1076"/>
          <ac:picMkLst>
            <pc:docMk/>
            <pc:sldMk cId="2584740091" sldId="271"/>
            <ac:picMk id="12" creationId="{BFF467F9-90C4-4586-8D02-62A67E40AFC7}"/>
          </ac:picMkLst>
        </pc:picChg>
      </pc:sldChg>
      <pc:sldChg chg="modSp del">
        <pc:chgData name="González Castillo, Camila Jesús" userId="S::cjgonzalezc@achs.cl::31736765-2b00-4d5d-9d65-70370390067e" providerId="AD" clId="Web-{39D77675-5CCC-C70F-B390-4BC40CD2309B}" dt="2020-07-13T18:20:53.414" v="778"/>
        <pc:sldMkLst>
          <pc:docMk/>
          <pc:sldMk cId="2679679668" sldId="272"/>
        </pc:sldMkLst>
        <pc:spChg chg="mod">
          <ac:chgData name="González Castillo, Camila Jesús" userId="S::cjgonzalezc@achs.cl::31736765-2b00-4d5d-9d65-70370390067e" providerId="AD" clId="Web-{39D77675-5CCC-C70F-B390-4BC40CD2309B}" dt="2020-07-13T18:19:43.914" v="742" actId="20577"/>
          <ac:spMkLst>
            <pc:docMk/>
            <pc:sldMk cId="2679679668" sldId="272"/>
            <ac:spMk id="7" creationId="{00000000-0000-0000-0000-000000000000}"/>
          </ac:spMkLst>
        </pc:spChg>
      </pc:sldChg>
      <pc:sldChg chg="modSp">
        <pc:chgData name="González Castillo, Camila Jesús" userId="S::cjgonzalezc@achs.cl::31736765-2b00-4d5d-9d65-70370390067e" providerId="AD" clId="Web-{39D77675-5CCC-C70F-B390-4BC40CD2309B}" dt="2020-07-13T20:06:53.053" v="797" actId="1076"/>
        <pc:sldMkLst>
          <pc:docMk/>
          <pc:sldMk cId="427428024" sldId="273"/>
        </pc:sldMkLst>
        <pc:graphicFrameChg chg="mod">
          <ac:chgData name="González Castillo, Camila Jesús" userId="S::cjgonzalezc@achs.cl::31736765-2b00-4d5d-9d65-70370390067e" providerId="AD" clId="Web-{39D77675-5CCC-C70F-B390-4BC40CD2309B}" dt="2020-07-13T20:06:53.053" v="797" actId="1076"/>
          <ac:graphicFrameMkLst>
            <pc:docMk/>
            <pc:sldMk cId="427428024" sldId="273"/>
            <ac:graphicFrameMk id="5" creationId="{00000000-0000-0000-0000-000000000000}"/>
          </ac:graphicFrameMkLst>
        </pc:graphicFrameChg>
      </pc:sldChg>
      <pc:sldChg chg="mod modShow">
        <pc:chgData name="González Castillo, Camila Jesús" userId="S::cjgonzalezc@achs.cl::31736765-2b00-4d5d-9d65-70370390067e" providerId="AD" clId="Web-{39D77675-5CCC-C70F-B390-4BC40CD2309B}" dt="2020-07-13T20:11:23.624" v="800"/>
        <pc:sldMkLst>
          <pc:docMk/>
          <pc:sldMk cId="2539737705" sldId="274"/>
        </pc:sldMkLst>
      </pc:sldChg>
      <pc:sldChg chg="addSp delSp modSp ord modNotes">
        <pc:chgData name="González Castillo, Camila Jesús" userId="S::cjgonzalezc@achs.cl::31736765-2b00-4d5d-9d65-70370390067e" providerId="AD" clId="Web-{39D77675-5CCC-C70F-B390-4BC40CD2309B}" dt="2020-07-13T20:59:25.030" v="1257" actId="1076"/>
        <pc:sldMkLst>
          <pc:docMk/>
          <pc:sldMk cId="1011424287" sldId="275"/>
        </pc:sldMkLst>
        <pc:spChg chg="del mod">
          <ac:chgData name="González Castillo, Camila Jesús" userId="S::cjgonzalezc@achs.cl::31736765-2b00-4d5d-9d65-70370390067e" providerId="AD" clId="Web-{39D77675-5CCC-C70F-B390-4BC40CD2309B}" dt="2020-07-13T20:46:36.415" v="1081"/>
          <ac:spMkLst>
            <pc:docMk/>
            <pc:sldMk cId="1011424287" sldId="275"/>
            <ac:spMk id="7" creationId="{00000000-0000-0000-0000-000000000000}"/>
          </ac:spMkLst>
        </pc:spChg>
        <pc:spChg chg="del">
          <ac:chgData name="González Castillo, Camila Jesús" userId="S::cjgonzalezc@achs.cl::31736765-2b00-4d5d-9d65-70370390067e" providerId="AD" clId="Web-{39D77675-5CCC-C70F-B390-4BC40CD2309B}" dt="2020-07-13T20:44:05.817" v="973"/>
          <ac:spMkLst>
            <pc:docMk/>
            <pc:sldMk cId="1011424287" sldId="275"/>
            <ac:spMk id="8" creationId="{00000000-0000-0000-0000-000000000000}"/>
          </ac:spMkLst>
        </pc:spChg>
        <pc:spChg chg="add mod">
          <ac:chgData name="González Castillo, Camila Jesús" userId="S::cjgonzalezc@achs.cl::31736765-2b00-4d5d-9d65-70370390067e" providerId="AD" clId="Web-{39D77675-5CCC-C70F-B390-4BC40CD2309B}" dt="2020-07-13T20:53:53.052" v="1199" actId="1076"/>
          <ac:spMkLst>
            <pc:docMk/>
            <pc:sldMk cId="1011424287" sldId="275"/>
            <ac:spMk id="1654" creationId="{5E86A6FB-FB83-430F-90DD-0F075C44C939}"/>
          </ac:spMkLst>
        </pc:spChg>
        <pc:spChg chg="add mod ord">
          <ac:chgData name="González Castillo, Camila Jesús" userId="S::cjgonzalezc@achs.cl::31736765-2b00-4d5d-9d65-70370390067e" providerId="AD" clId="Web-{39D77675-5CCC-C70F-B390-4BC40CD2309B}" dt="2020-07-13T20:53:53.005" v="1197" actId="1076"/>
          <ac:spMkLst>
            <pc:docMk/>
            <pc:sldMk cId="1011424287" sldId="275"/>
            <ac:spMk id="1655" creationId="{53F77D53-DEAE-47C0-87C0-EE3A253DA564}"/>
          </ac:spMkLst>
        </pc:spChg>
        <pc:graphicFrameChg chg="add mod modGraphic">
          <ac:chgData name="González Castillo, Camila Jesús" userId="S::cjgonzalezc@achs.cl::31736765-2b00-4d5d-9d65-70370390067e" providerId="AD" clId="Web-{39D77675-5CCC-C70F-B390-4BC40CD2309B}" dt="2020-07-13T20:59:25.030" v="1257" actId="1076"/>
          <ac:graphicFrameMkLst>
            <pc:docMk/>
            <pc:sldMk cId="1011424287" sldId="275"/>
            <ac:graphicFrameMk id="9" creationId="{0934CE20-CA00-417C-A2D1-213749213E88}"/>
          </ac:graphicFrameMkLst>
        </pc:graphicFrameChg>
        <pc:cxnChg chg="add mod">
          <ac:chgData name="González Castillo, Camila Jesús" userId="S::cjgonzalezc@achs.cl::31736765-2b00-4d5d-9d65-70370390067e" providerId="AD" clId="Web-{39D77675-5CCC-C70F-B390-4BC40CD2309B}" dt="2020-07-13T20:53:53.068" v="1200" actId="1076"/>
          <ac:cxnSpMkLst>
            <pc:docMk/>
            <pc:sldMk cId="1011424287" sldId="275"/>
            <ac:cxnSpMk id="1680" creationId="{CDA6E8E8-D5BC-4A33-B9CD-9F36A58479B5}"/>
          </ac:cxnSpMkLst>
        </pc:cxnChg>
      </pc:sldChg>
      <pc:sldChg chg="mod modShow">
        <pc:chgData name="González Castillo, Camila Jesús" userId="S::cjgonzalezc@achs.cl::31736765-2b00-4d5d-9d65-70370390067e" providerId="AD" clId="Web-{39D77675-5CCC-C70F-B390-4BC40CD2309B}" dt="2020-07-13T18:22:56.914" v="782"/>
        <pc:sldMkLst>
          <pc:docMk/>
          <pc:sldMk cId="520848662" sldId="276"/>
        </pc:sldMkLst>
      </pc:sldChg>
      <pc:sldChg chg="modSp modNotes">
        <pc:chgData name="González Castillo, Camila Jesús" userId="S::cjgonzalezc@achs.cl::31736765-2b00-4d5d-9d65-70370390067e" providerId="AD" clId="Web-{39D77675-5CCC-C70F-B390-4BC40CD2309B}" dt="2020-07-13T20:17:56.649" v="817"/>
        <pc:sldMkLst>
          <pc:docMk/>
          <pc:sldMk cId="1355606145" sldId="277"/>
        </pc:sldMkLst>
        <pc:spChg chg="mod">
          <ac:chgData name="González Castillo, Camila Jesús" userId="S::cjgonzalezc@achs.cl::31736765-2b00-4d5d-9d65-70370390067e" providerId="AD" clId="Web-{39D77675-5CCC-C70F-B390-4BC40CD2309B}" dt="2020-07-13T16:41:35.951" v="707" actId="20577"/>
          <ac:spMkLst>
            <pc:docMk/>
            <pc:sldMk cId="1355606145" sldId="277"/>
            <ac:spMk id="5" creationId="{DD96E327-D806-4F2F-A39C-FD5C6DA7CC68}"/>
          </ac:spMkLst>
        </pc:spChg>
      </pc:sldChg>
      <pc:sldChg chg="del mod modShow">
        <pc:chgData name="González Castillo, Camila Jesús" userId="S::cjgonzalezc@achs.cl::31736765-2b00-4d5d-9d65-70370390067e" providerId="AD" clId="Web-{39D77675-5CCC-C70F-B390-4BC40CD2309B}" dt="2020-07-13T20:14:08.565" v="802"/>
        <pc:sldMkLst>
          <pc:docMk/>
          <pc:sldMk cId="796732370" sldId="278"/>
        </pc:sldMkLst>
      </pc:sldChg>
      <pc:sldChg chg="del mod modShow">
        <pc:chgData name="González Castillo, Camila Jesús" userId="S::cjgonzalezc@achs.cl::31736765-2b00-4d5d-9d65-70370390067e" providerId="AD" clId="Web-{39D77675-5CCC-C70F-B390-4BC40CD2309B}" dt="2020-07-13T20:13:47.205" v="801"/>
        <pc:sldMkLst>
          <pc:docMk/>
          <pc:sldMk cId="2277850959" sldId="279"/>
        </pc:sldMkLst>
      </pc:sldChg>
      <pc:sldChg chg="mod modShow">
        <pc:chgData name="González Castillo, Camila Jesús" userId="S::cjgonzalezc@achs.cl::31736765-2b00-4d5d-9d65-70370390067e" providerId="AD" clId="Web-{39D77675-5CCC-C70F-B390-4BC40CD2309B}" dt="2020-07-13T20:18:55.776" v="818"/>
        <pc:sldMkLst>
          <pc:docMk/>
          <pc:sldMk cId="1843423285" sldId="282"/>
        </pc:sldMkLst>
      </pc:sldChg>
      <pc:sldChg chg="modSp">
        <pc:chgData name="González Castillo, Camila Jesús" userId="S::cjgonzalezc@achs.cl::31736765-2b00-4d5d-9d65-70370390067e" providerId="AD" clId="Web-{39D77675-5CCC-C70F-B390-4BC40CD2309B}" dt="2020-07-13T20:19:24.917" v="819" actId="1076"/>
        <pc:sldMkLst>
          <pc:docMk/>
          <pc:sldMk cId="1914114345" sldId="283"/>
        </pc:sldMkLst>
        <pc:picChg chg="mod">
          <ac:chgData name="González Castillo, Camila Jesús" userId="S::cjgonzalezc@achs.cl::31736765-2b00-4d5d-9d65-70370390067e" providerId="AD" clId="Web-{39D77675-5CCC-C70F-B390-4BC40CD2309B}" dt="2020-07-13T20:19:24.917" v="819" actId="1076"/>
          <ac:picMkLst>
            <pc:docMk/>
            <pc:sldMk cId="1914114345" sldId="283"/>
            <ac:picMk id="6" creationId="{BAED4526-BB13-4BC6-B334-E685AFE53A2B}"/>
          </ac:picMkLst>
        </pc:picChg>
      </pc:sldChg>
      <pc:sldChg chg="delSp">
        <pc:chgData name="González Castillo, Camila Jesús" userId="S::cjgonzalezc@achs.cl::31736765-2b00-4d5d-9d65-70370390067e" providerId="AD" clId="Web-{39D77675-5CCC-C70F-B390-4BC40CD2309B}" dt="2020-07-13T20:19:52.934" v="820"/>
        <pc:sldMkLst>
          <pc:docMk/>
          <pc:sldMk cId="3472388858" sldId="284"/>
        </pc:sldMkLst>
        <pc:picChg chg="del">
          <ac:chgData name="González Castillo, Camila Jesús" userId="S::cjgonzalezc@achs.cl::31736765-2b00-4d5d-9d65-70370390067e" providerId="AD" clId="Web-{39D77675-5CCC-C70F-B390-4BC40CD2309B}" dt="2020-07-13T20:19:52.934" v="820"/>
          <ac:picMkLst>
            <pc:docMk/>
            <pc:sldMk cId="3472388858" sldId="284"/>
            <ac:picMk id="8" creationId="{3E8D8779-3733-48BB-95D8-AB16FE21B5A5}"/>
          </ac:picMkLst>
        </pc:picChg>
      </pc:sldChg>
      <pc:sldChg chg="addSp delSp modSp add replId modNotes">
        <pc:chgData name="González Castillo, Camila Jesús" userId="S::cjgonzalezc@achs.cl::31736765-2b00-4d5d-9d65-70370390067e" providerId="AD" clId="Web-{39D77675-5CCC-C70F-B390-4BC40CD2309B}" dt="2020-07-13T16:31:24.667" v="692" actId="20577"/>
        <pc:sldMkLst>
          <pc:docMk/>
          <pc:sldMk cId="3815336811" sldId="285"/>
        </pc:sldMkLst>
        <pc:spChg chg="mod">
          <ac:chgData name="González Castillo, Camila Jesús" userId="S::cjgonzalezc@achs.cl::31736765-2b00-4d5d-9d65-70370390067e" providerId="AD" clId="Web-{39D77675-5CCC-C70F-B390-4BC40CD2309B}" dt="2020-07-13T16:31:24.667" v="692" actId="20577"/>
          <ac:spMkLst>
            <pc:docMk/>
            <pc:sldMk cId="3815336811" sldId="285"/>
            <ac:spMk id="2" creationId="{C0D72E39-BB6A-4BB9-9F67-B4D2346BDB4C}"/>
          </ac:spMkLst>
        </pc:spChg>
        <pc:spChg chg="del">
          <ac:chgData name="González Castillo, Camila Jesús" userId="S::cjgonzalezc@achs.cl::31736765-2b00-4d5d-9d65-70370390067e" providerId="AD" clId="Web-{39D77675-5CCC-C70F-B390-4BC40CD2309B}" dt="2020-07-13T16:17:41.179" v="572"/>
          <ac:spMkLst>
            <pc:docMk/>
            <pc:sldMk cId="3815336811" sldId="285"/>
            <ac:spMk id="9" creationId="{4F2E3519-FDE6-40DB-B3B3-E513D20B33AE}"/>
          </ac:spMkLst>
        </pc:spChg>
        <pc:spChg chg="add del mod">
          <ac:chgData name="González Castillo, Camila Jesús" userId="S::cjgonzalezc@achs.cl::31736765-2b00-4d5d-9d65-70370390067e" providerId="AD" clId="Web-{39D77675-5CCC-C70F-B390-4BC40CD2309B}" dt="2020-07-13T16:25:04.509" v="630"/>
          <ac:spMkLst>
            <pc:docMk/>
            <pc:sldMk cId="3815336811" sldId="285"/>
            <ac:spMk id="452" creationId="{679C2A16-B408-4D31-99CB-C68903FF9620}"/>
          </ac:spMkLst>
        </pc:spChg>
        <pc:spChg chg="add mod">
          <ac:chgData name="González Castillo, Camila Jesús" userId="S::cjgonzalezc@achs.cl::31736765-2b00-4d5d-9d65-70370390067e" providerId="AD" clId="Web-{39D77675-5CCC-C70F-B390-4BC40CD2309B}" dt="2020-07-13T16:28:14.963" v="686"/>
          <ac:spMkLst>
            <pc:docMk/>
            <pc:sldMk cId="3815336811" sldId="285"/>
            <ac:spMk id="453" creationId="{B555C38C-BE83-49A8-B0D9-1A11199F7215}"/>
          </ac:spMkLst>
        </pc:spChg>
        <pc:spChg chg="add mod">
          <ac:chgData name="González Castillo, Camila Jesús" userId="S::cjgonzalezc@achs.cl::31736765-2b00-4d5d-9d65-70370390067e" providerId="AD" clId="Web-{39D77675-5CCC-C70F-B390-4BC40CD2309B}" dt="2020-07-13T16:27:56.447" v="682" actId="1076"/>
          <ac:spMkLst>
            <pc:docMk/>
            <pc:sldMk cId="3815336811" sldId="285"/>
            <ac:spMk id="455" creationId="{75DD6BAF-CCFD-4E19-A565-FD97625637D1}"/>
          </ac:spMkLst>
        </pc:spChg>
        <pc:spChg chg="add del mod">
          <ac:chgData name="González Castillo, Camila Jesús" userId="S::cjgonzalezc@achs.cl::31736765-2b00-4d5d-9d65-70370390067e" providerId="AD" clId="Web-{39D77675-5CCC-C70F-B390-4BC40CD2309B}" dt="2020-07-13T16:26:56.901" v="679"/>
          <ac:spMkLst>
            <pc:docMk/>
            <pc:sldMk cId="3815336811" sldId="285"/>
            <ac:spMk id="478" creationId="{D3F8F5AD-198D-4E18-B0DB-778876053CF8}"/>
          </ac:spMkLst>
        </pc:spChg>
        <pc:spChg chg="add mod">
          <ac:chgData name="González Castillo, Camila Jesús" userId="S::cjgonzalezc@achs.cl::31736765-2b00-4d5d-9d65-70370390067e" providerId="AD" clId="Web-{39D77675-5CCC-C70F-B390-4BC40CD2309B}" dt="2020-07-13T16:28:00.557" v="683" actId="1076"/>
          <ac:spMkLst>
            <pc:docMk/>
            <pc:sldMk cId="3815336811" sldId="285"/>
            <ac:spMk id="479" creationId="{F1D974E7-DB21-4ED9-9A65-8A9A7DDF9691}"/>
          </ac:spMkLst>
        </pc:spChg>
        <pc:graphicFrameChg chg="add mod modGraphic">
          <ac:chgData name="González Castillo, Camila Jesús" userId="S::cjgonzalezc@achs.cl::31736765-2b00-4d5d-9d65-70370390067e" providerId="AD" clId="Web-{39D77675-5CCC-C70F-B390-4BC40CD2309B}" dt="2020-07-13T16:28:04.916" v="684" actId="1076"/>
          <ac:graphicFrameMkLst>
            <pc:docMk/>
            <pc:sldMk cId="3815336811" sldId="285"/>
            <ac:graphicFrameMk id="10" creationId="{06942F20-76FB-41EE-833F-018A05A28D68}"/>
          </ac:graphicFrameMkLst>
        </pc:graphicFrameChg>
        <pc:picChg chg="add mod">
          <ac:chgData name="González Castillo, Camila Jesús" userId="S::cjgonzalezc@achs.cl::31736765-2b00-4d5d-9d65-70370390067e" providerId="AD" clId="Web-{39D77675-5CCC-C70F-B390-4BC40CD2309B}" dt="2020-07-13T16:23:51.384" v="621" actId="14100"/>
          <ac:picMkLst>
            <pc:docMk/>
            <pc:sldMk cId="3815336811" sldId="285"/>
            <ac:picMk id="7" creationId="{E1A4CAF1-0138-4343-8B5A-1DE7B11EFADC}"/>
          </ac:picMkLst>
        </pc:picChg>
        <pc:picChg chg="del">
          <ac:chgData name="González Castillo, Camila Jesús" userId="S::cjgonzalezc@achs.cl::31736765-2b00-4d5d-9d65-70370390067e" providerId="AD" clId="Web-{39D77675-5CCC-C70F-B390-4BC40CD2309B}" dt="2020-07-13T16:17:37.304" v="570"/>
          <ac:picMkLst>
            <pc:docMk/>
            <pc:sldMk cId="3815336811" sldId="285"/>
            <ac:picMk id="8" creationId="{46D8293B-B55E-4570-92CE-209E77021321}"/>
          </ac:picMkLst>
        </pc:picChg>
        <pc:picChg chg="add mod ord">
          <ac:chgData name="González Castillo, Camila Jesús" userId="S::cjgonzalezc@achs.cl::31736765-2b00-4d5d-9d65-70370390067e" providerId="AD" clId="Web-{39D77675-5CCC-C70F-B390-4BC40CD2309B}" dt="2020-07-13T16:24:09.603" v="626"/>
          <ac:picMkLst>
            <pc:docMk/>
            <pc:sldMk cId="3815336811" sldId="285"/>
            <ac:picMk id="418" creationId="{70E332FD-4B41-40FB-B749-A5F6AD80231F}"/>
          </ac:picMkLst>
        </pc:picChg>
      </pc:sldChg>
      <pc:sldChg chg="add del replId">
        <pc:chgData name="González Castillo, Camila Jesús" userId="S::cjgonzalezc@achs.cl::31736765-2b00-4d5d-9d65-70370390067e" providerId="AD" clId="Web-{39D77675-5CCC-C70F-B390-4BC40CD2309B}" dt="2020-07-13T16:29:58.526" v="689"/>
        <pc:sldMkLst>
          <pc:docMk/>
          <pc:sldMk cId="1168312854" sldId="286"/>
        </pc:sldMkLst>
      </pc:sldChg>
      <pc:sldChg chg="modSp add replId">
        <pc:chgData name="González Castillo, Camila Jesús" userId="S::cjgonzalezc@achs.cl::31736765-2b00-4d5d-9d65-70370390067e" providerId="AD" clId="Web-{39D77675-5CCC-C70F-B390-4BC40CD2309B}" dt="2020-07-13T20:38:21.449" v="917" actId="20577"/>
        <pc:sldMkLst>
          <pc:docMk/>
          <pc:sldMk cId="1505691834" sldId="286"/>
        </pc:sldMkLst>
        <pc:graphicFrameChg chg="modGraphic">
          <ac:chgData name="González Castillo, Camila Jesús" userId="S::cjgonzalezc@achs.cl::31736765-2b00-4d5d-9d65-70370390067e" providerId="AD" clId="Web-{39D77675-5CCC-C70F-B390-4BC40CD2309B}" dt="2020-07-13T20:38:21.449" v="917" actId="20577"/>
          <ac:graphicFrameMkLst>
            <pc:docMk/>
            <pc:sldMk cId="1505691834" sldId="286"/>
            <ac:graphicFrameMk id="13" creationId="{9DDFB9E8-8D70-4910-82F3-45BB22A713FC}"/>
          </ac:graphicFrameMkLst>
        </pc:graphicFrameChg>
      </pc:sldChg>
      <pc:sldChg chg="add del replId">
        <pc:chgData name="González Castillo, Camila Jesús" userId="S::cjgonzalezc@achs.cl::31736765-2b00-4d5d-9d65-70370390067e" providerId="AD" clId="Web-{39D77675-5CCC-C70F-B390-4BC40CD2309B}" dt="2020-07-13T20:57:54.262" v="1251"/>
        <pc:sldMkLst>
          <pc:docMk/>
          <pc:sldMk cId="1862349762" sldId="287"/>
        </pc:sldMkLst>
      </pc:sldChg>
      <pc:sldChg chg="add ord replId">
        <pc:chgData name="González Castillo, Camila Jesús" userId="S::cjgonzalezc@achs.cl::31736765-2b00-4d5d-9d65-70370390067e" providerId="AD" clId="Web-{39D77675-5CCC-C70F-B390-4BC40CD2309B}" dt="2020-07-13T20:36:15.055" v="850"/>
        <pc:sldMkLst>
          <pc:docMk/>
          <pc:sldMk cId="3764904351" sldId="288"/>
        </pc:sldMkLst>
      </pc:sldChg>
      <pc:sldChg chg="add replId">
        <pc:chgData name="González Castillo, Camila Jesús" userId="S::cjgonzalezc@achs.cl::31736765-2b00-4d5d-9d65-70370390067e" providerId="AD" clId="Web-{39D77675-5CCC-C70F-B390-4BC40CD2309B}" dt="2020-07-13T20:43:46.817" v="970"/>
        <pc:sldMkLst>
          <pc:docMk/>
          <pc:sldMk cId="601178622" sldId="289"/>
        </pc:sldMkLst>
      </pc:sldChg>
      <pc:sldChg chg="add replId">
        <pc:chgData name="González Castillo, Camila Jesús" userId="S::cjgonzalezc@achs.cl::31736765-2b00-4d5d-9d65-70370390067e" providerId="AD" clId="Web-{39D77675-5CCC-C70F-B390-4BC40CD2309B}" dt="2020-07-13T20:57:52.387" v="1250"/>
        <pc:sldMkLst>
          <pc:docMk/>
          <pc:sldMk cId="1432216631" sldId="290"/>
        </pc:sldMkLst>
      </pc:sldChg>
    </pc:docChg>
  </pc:docChgLst>
  <pc:docChgLst>
    <pc:chgData name="Fuentes Araya, Cristóbal Francisco" userId="S::cfuentesa@achs.cl::0e9e05e2-f2a9-4d96-a1bf-f516d16b267a" providerId="AD" clId="Web-{4FC90960-1B6F-9A72-D30C-5F24949ED247}"/>
    <pc:docChg chg="modSld">
      <pc:chgData name="Fuentes Araya, Cristóbal Francisco" userId="S::cfuentesa@achs.cl::0e9e05e2-f2a9-4d96-a1bf-f516d16b267a" providerId="AD" clId="Web-{4FC90960-1B6F-9A72-D30C-5F24949ED247}" dt="2020-07-15T17:55:05.651" v="1" actId="1076"/>
      <pc:docMkLst>
        <pc:docMk/>
      </pc:docMkLst>
      <pc:sldChg chg="modSp">
        <pc:chgData name="Fuentes Araya, Cristóbal Francisco" userId="S::cfuentesa@achs.cl::0e9e05e2-f2a9-4d96-a1bf-f516d16b267a" providerId="AD" clId="Web-{4FC90960-1B6F-9A72-D30C-5F24949ED247}" dt="2020-07-15T17:55:05.651" v="1" actId="1076"/>
        <pc:sldMkLst>
          <pc:docMk/>
          <pc:sldMk cId="2539737705" sldId="274"/>
        </pc:sldMkLst>
        <pc:spChg chg="mod">
          <ac:chgData name="Fuentes Araya, Cristóbal Francisco" userId="S::cfuentesa@achs.cl::0e9e05e2-f2a9-4d96-a1bf-f516d16b267a" providerId="AD" clId="Web-{4FC90960-1B6F-9A72-D30C-5F24949ED247}" dt="2020-07-15T17:55:05.651" v="1" actId="1076"/>
          <ac:spMkLst>
            <pc:docMk/>
            <pc:sldMk cId="2539737705" sldId="274"/>
            <ac:spMk id="2" creationId="{F08A09DA-8172-4609-B5B5-26EE6AB9D431}"/>
          </ac:spMkLst>
        </pc:spChg>
        <pc:graphicFrameChg chg="mod">
          <ac:chgData name="Fuentes Araya, Cristóbal Francisco" userId="S::cfuentesa@achs.cl::0e9e05e2-f2a9-4d96-a1bf-f516d16b267a" providerId="AD" clId="Web-{4FC90960-1B6F-9A72-D30C-5F24949ED247}" dt="2020-07-15T17:55:00.636" v="0" actId="14100"/>
          <ac:graphicFrameMkLst>
            <pc:docMk/>
            <pc:sldMk cId="2539737705" sldId="274"/>
            <ac:graphicFrameMk id="10" creationId="{A0A9E559-CCAC-43FA-8B01-2CCE3BCD090C}"/>
          </ac:graphicFrameMkLst>
        </pc:graphicFrameChg>
      </pc:sldChg>
    </pc:docChg>
  </pc:docChgLst>
  <pc:docChgLst>
    <pc:chgData name="González Castillo, Camila Jesús" userId="S::cjgonzalezc@achs.cl::31736765-2b00-4d5d-9d65-70370390067e" providerId="AD" clId="Web-{C7ED6129-87A7-36B9-281E-CE8EE2BDF4B3}"/>
    <pc:docChg chg="modSld">
      <pc:chgData name="González Castillo, Camila Jesús" userId="S::cjgonzalezc@achs.cl::31736765-2b00-4d5d-9d65-70370390067e" providerId="AD" clId="Web-{C7ED6129-87A7-36B9-281E-CE8EE2BDF4B3}" dt="2020-07-15T16:50:14.021" v="43" actId="1076"/>
      <pc:docMkLst>
        <pc:docMk/>
      </pc:docMkLst>
      <pc:sldChg chg="modSp">
        <pc:chgData name="González Castillo, Camila Jesús" userId="S::cjgonzalezc@achs.cl::31736765-2b00-4d5d-9d65-70370390067e" providerId="AD" clId="Web-{C7ED6129-87A7-36B9-281E-CE8EE2BDF4B3}" dt="2020-07-15T16:50:14.021" v="43" actId="1076"/>
        <pc:sldMkLst>
          <pc:docMk/>
          <pc:sldMk cId="1355606145" sldId="277"/>
        </pc:sldMkLst>
        <pc:spChg chg="mod">
          <ac:chgData name="González Castillo, Camila Jesús" userId="S::cjgonzalezc@achs.cl::31736765-2b00-4d5d-9d65-70370390067e" providerId="AD" clId="Web-{C7ED6129-87A7-36B9-281E-CE8EE2BDF4B3}" dt="2020-07-15T16:50:14.021" v="43" actId="1076"/>
          <ac:spMkLst>
            <pc:docMk/>
            <pc:sldMk cId="1355606145" sldId="277"/>
            <ac:spMk id="5" creationId="{DD96E327-D806-4F2F-A39C-FD5C6DA7CC68}"/>
          </ac:spMkLst>
        </pc:spChg>
      </pc:sldChg>
    </pc:docChg>
  </pc:docChgLst>
  <pc:docChgLst>
    <pc:chgData name="Appelgren Poblete, Cristina Makarena" userId="S::gascap@achs.cl::1949d413-bb73-4830-89ba-330ab5bc68fd" providerId="AD" clId="Web-{87398A07-B66A-37B1-9F3B-4CB7B22BCFB0}"/>
    <pc:docChg chg="modSld">
      <pc:chgData name="Appelgren Poblete, Cristina Makarena" userId="S::gascap@achs.cl::1949d413-bb73-4830-89ba-330ab5bc68fd" providerId="AD" clId="Web-{87398A07-B66A-37B1-9F3B-4CB7B22BCFB0}" dt="2020-07-14T03:16:21.807" v="10" actId="1076"/>
      <pc:docMkLst>
        <pc:docMk/>
      </pc:docMkLst>
      <pc:sldChg chg="addSp delSp modSp">
        <pc:chgData name="Appelgren Poblete, Cristina Makarena" userId="S::gascap@achs.cl::1949d413-bb73-4830-89ba-330ab5bc68fd" providerId="AD" clId="Web-{87398A07-B66A-37B1-9F3B-4CB7B22BCFB0}" dt="2020-07-14T03:15:43.557" v="5"/>
        <pc:sldMkLst>
          <pc:docMk/>
          <pc:sldMk cId="1355606145" sldId="277"/>
        </pc:sldMkLst>
        <pc:picChg chg="add del mod">
          <ac:chgData name="Appelgren Poblete, Cristina Makarena" userId="S::gascap@achs.cl::1949d413-bb73-4830-89ba-330ab5bc68fd" providerId="AD" clId="Web-{87398A07-B66A-37B1-9F3B-4CB7B22BCFB0}" dt="2020-07-14T03:15:16.917" v="1"/>
          <ac:picMkLst>
            <pc:docMk/>
            <pc:sldMk cId="1355606145" sldId="277"/>
            <ac:picMk id="6" creationId="{C206C540-7B91-484A-8668-06B3BE0167F5}"/>
          </ac:picMkLst>
        </pc:picChg>
        <pc:picChg chg="add del mod">
          <ac:chgData name="Appelgren Poblete, Cristina Makarena" userId="S::gascap@achs.cl::1949d413-bb73-4830-89ba-330ab5bc68fd" providerId="AD" clId="Web-{87398A07-B66A-37B1-9F3B-4CB7B22BCFB0}" dt="2020-07-14T03:15:43.557" v="5"/>
          <ac:picMkLst>
            <pc:docMk/>
            <pc:sldMk cId="1355606145" sldId="277"/>
            <ac:picMk id="9" creationId="{6BCE3A54-1C0E-4773-89D6-1837CF33B752}"/>
          </ac:picMkLst>
        </pc:picChg>
      </pc:sldChg>
      <pc:sldChg chg="addSp modSp">
        <pc:chgData name="Appelgren Poblete, Cristina Makarena" userId="S::gascap@achs.cl::1949d413-bb73-4830-89ba-330ab5bc68fd" providerId="AD" clId="Web-{87398A07-B66A-37B1-9F3B-4CB7B22BCFB0}" dt="2020-07-14T03:16:21.807" v="10" actId="1076"/>
        <pc:sldMkLst>
          <pc:docMk/>
          <pc:sldMk cId="2909142447" sldId="280"/>
        </pc:sldMkLst>
        <pc:picChg chg="add mod">
          <ac:chgData name="Appelgren Poblete, Cristina Makarena" userId="S::gascap@achs.cl::1949d413-bb73-4830-89ba-330ab5bc68fd" providerId="AD" clId="Web-{87398A07-B66A-37B1-9F3B-4CB7B22BCFB0}" dt="2020-07-14T03:16:21.807" v="10" actId="1076"/>
          <ac:picMkLst>
            <pc:docMk/>
            <pc:sldMk cId="2909142447" sldId="280"/>
            <ac:picMk id="7" creationId="{C1675EDF-003E-4509-9F2C-96E088311AA2}"/>
          </ac:picMkLst>
        </pc:picChg>
      </pc:sldChg>
    </pc:docChg>
  </pc:docChgLst>
  <pc:docChgLst>
    <pc:chgData name="González Castillo, Camila Jesús" userId="S::cjgonzalezc@achs.cl::31736765-2b00-4d5d-9d65-70370390067e" providerId="AD" clId="Web-{437A593B-5A07-74BD-BE18-F81169B83E04}"/>
    <pc:docChg chg="delSld modSld sldOrd">
      <pc:chgData name="González Castillo, Camila Jesús" userId="S::cjgonzalezc@achs.cl::31736765-2b00-4d5d-9d65-70370390067e" providerId="AD" clId="Web-{437A593B-5A07-74BD-BE18-F81169B83E04}" dt="2020-07-15T16:39:55.071" v="163" actId="20577"/>
      <pc:docMkLst>
        <pc:docMk/>
      </pc:docMkLst>
      <pc:sldChg chg="modSp">
        <pc:chgData name="González Castillo, Camila Jesús" userId="S::cjgonzalezc@achs.cl::31736765-2b00-4d5d-9d65-70370390067e" providerId="AD" clId="Web-{437A593B-5A07-74BD-BE18-F81169B83E04}" dt="2020-07-15T16:27:33.502" v="91" actId="20577"/>
        <pc:sldMkLst>
          <pc:docMk/>
          <pc:sldMk cId="2584740091" sldId="271"/>
        </pc:sldMkLst>
        <pc:spChg chg="mod">
          <ac:chgData name="González Castillo, Camila Jesús" userId="S::cjgonzalezc@achs.cl::31736765-2b00-4d5d-9d65-70370390067e" providerId="AD" clId="Web-{437A593B-5A07-74BD-BE18-F81169B83E04}" dt="2020-07-15T16:27:33.502" v="91" actId="20577"/>
          <ac:spMkLst>
            <pc:docMk/>
            <pc:sldMk cId="2584740091" sldId="271"/>
            <ac:spMk id="10" creationId="{3EFCD460-1EEE-4526-BB42-FAC0D7BDE204}"/>
          </ac:spMkLst>
        </pc:spChg>
      </pc:sldChg>
      <pc:sldChg chg="delSp modSp">
        <pc:chgData name="González Castillo, Camila Jesús" userId="S::cjgonzalezc@achs.cl::31736765-2b00-4d5d-9d65-70370390067e" providerId="AD" clId="Web-{437A593B-5A07-74BD-BE18-F81169B83E04}" dt="2020-07-15T16:27:48.987" v="95"/>
        <pc:sldMkLst>
          <pc:docMk/>
          <pc:sldMk cId="427428024" sldId="273"/>
        </pc:sldMkLst>
        <pc:picChg chg="del mod">
          <ac:chgData name="González Castillo, Camila Jesús" userId="S::cjgonzalezc@achs.cl::31736765-2b00-4d5d-9d65-70370390067e" providerId="AD" clId="Web-{437A593B-5A07-74BD-BE18-F81169B83E04}" dt="2020-07-15T16:27:48.987" v="95"/>
          <ac:picMkLst>
            <pc:docMk/>
            <pc:sldMk cId="427428024" sldId="273"/>
            <ac:picMk id="6" creationId="{BFF467F9-90C4-4586-8D02-62A67E40AFC7}"/>
          </ac:picMkLst>
        </pc:picChg>
      </pc:sldChg>
      <pc:sldChg chg="modSp">
        <pc:chgData name="González Castillo, Camila Jesús" userId="S::cjgonzalezc@achs.cl::31736765-2b00-4d5d-9d65-70370390067e" providerId="AD" clId="Web-{437A593B-5A07-74BD-BE18-F81169B83E04}" dt="2020-07-15T16:30:23.745" v="154" actId="20577"/>
        <pc:sldMkLst>
          <pc:docMk/>
          <pc:sldMk cId="2539737705" sldId="274"/>
        </pc:sldMkLst>
        <pc:spChg chg="mod">
          <ac:chgData name="González Castillo, Camila Jesús" userId="S::cjgonzalezc@achs.cl::31736765-2b00-4d5d-9d65-70370390067e" providerId="AD" clId="Web-{437A593B-5A07-74BD-BE18-F81169B83E04}" dt="2020-07-15T16:30:04.650" v="153" actId="14100"/>
          <ac:spMkLst>
            <pc:docMk/>
            <pc:sldMk cId="2539737705" sldId="274"/>
            <ac:spMk id="2" creationId="{F08A09DA-8172-4609-B5B5-26EE6AB9D431}"/>
          </ac:spMkLst>
        </pc:spChg>
        <pc:spChg chg="mod">
          <ac:chgData name="González Castillo, Camila Jesús" userId="S::cjgonzalezc@achs.cl::31736765-2b00-4d5d-9d65-70370390067e" providerId="AD" clId="Web-{437A593B-5A07-74BD-BE18-F81169B83E04}" dt="2020-07-15T16:30:23.745" v="154" actId="20577"/>
          <ac:spMkLst>
            <pc:docMk/>
            <pc:sldMk cId="2539737705" sldId="274"/>
            <ac:spMk id="7" creationId="{00000000-0000-0000-0000-000000000000}"/>
          </ac:spMkLst>
        </pc:spChg>
      </pc:sldChg>
      <pc:sldChg chg="modSp">
        <pc:chgData name="González Castillo, Camila Jesús" userId="S::cjgonzalezc@achs.cl::31736765-2b00-4d5d-9d65-70370390067e" providerId="AD" clId="Web-{437A593B-5A07-74BD-BE18-F81169B83E04}" dt="2020-07-15T16:39:55.071" v="162" actId="20577"/>
        <pc:sldMkLst>
          <pc:docMk/>
          <pc:sldMk cId="1355606145" sldId="277"/>
        </pc:sldMkLst>
        <pc:spChg chg="mod">
          <ac:chgData name="González Castillo, Camila Jesús" userId="S::cjgonzalezc@achs.cl::31736765-2b00-4d5d-9d65-70370390067e" providerId="AD" clId="Web-{437A593B-5A07-74BD-BE18-F81169B83E04}" dt="2020-07-15T16:39:55.071" v="162" actId="20577"/>
          <ac:spMkLst>
            <pc:docMk/>
            <pc:sldMk cId="1355606145" sldId="277"/>
            <ac:spMk id="5" creationId="{DD96E327-D806-4F2F-A39C-FD5C6DA7CC68}"/>
          </ac:spMkLst>
        </pc:spChg>
      </pc:sldChg>
      <pc:sldChg chg="addSp delSp modSp">
        <pc:chgData name="González Castillo, Camila Jesús" userId="S::cjgonzalezc@achs.cl::31736765-2b00-4d5d-9d65-70370390067e" providerId="AD" clId="Web-{437A593B-5A07-74BD-BE18-F81169B83E04}" dt="2020-07-15T16:19:35.368" v="23" actId="1076"/>
        <pc:sldMkLst>
          <pc:docMk/>
          <pc:sldMk cId="3815336811" sldId="285"/>
        </pc:sldMkLst>
        <pc:picChg chg="add del mod">
          <ac:chgData name="González Castillo, Camila Jesús" userId="S::cjgonzalezc@achs.cl::31736765-2b00-4d5d-9d65-70370390067e" providerId="AD" clId="Web-{437A593B-5A07-74BD-BE18-F81169B83E04}" dt="2020-07-15T16:18:42.413" v="13"/>
          <ac:picMkLst>
            <pc:docMk/>
            <pc:sldMk cId="3815336811" sldId="285"/>
            <ac:picMk id="51" creationId="{5BBC5EFE-DFB3-47DD-BDD1-77C66AAE20FC}"/>
          </ac:picMkLst>
        </pc:picChg>
        <pc:picChg chg="add mod">
          <ac:chgData name="González Castillo, Camila Jesús" userId="S::cjgonzalezc@achs.cl::31736765-2b00-4d5d-9d65-70370390067e" providerId="AD" clId="Web-{437A593B-5A07-74BD-BE18-F81169B83E04}" dt="2020-07-15T16:19:35.368" v="23" actId="1076"/>
          <ac:picMkLst>
            <pc:docMk/>
            <pc:sldMk cId="3815336811" sldId="285"/>
            <ac:picMk id="52" creationId="{573A825E-5F49-4AC6-8414-16F44FE7C667}"/>
          </ac:picMkLst>
        </pc:picChg>
      </pc:sldChg>
      <pc:sldChg chg="modSp">
        <pc:chgData name="González Castillo, Camila Jesús" userId="S::cjgonzalezc@achs.cl::31736765-2b00-4d5d-9d65-70370390067e" providerId="AD" clId="Web-{437A593B-5A07-74BD-BE18-F81169B83E04}" dt="2020-07-15T16:15:55.576" v="3" actId="20577"/>
        <pc:sldMkLst>
          <pc:docMk/>
          <pc:sldMk cId="601178622" sldId="289"/>
        </pc:sldMkLst>
        <pc:graphicFrameChg chg="modGraphic">
          <ac:chgData name="González Castillo, Camila Jesús" userId="S::cjgonzalezc@achs.cl::31736765-2b00-4d5d-9d65-70370390067e" providerId="AD" clId="Web-{437A593B-5A07-74BD-BE18-F81169B83E04}" dt="2020-07-15T16:15:55.576" v="3" actId="20577"/>
          <ac:graphicFrameMkLst>
            <pc:docMk/>
            <pc:sldMk cId="601178622" sldId="289"/>
            <ac:graphicFrameMk id="13" creationId="{9DDFB9E8-8D70-4910-82F3-45BB22A713FC}"/>
          </ac:graphicFrameMkLst>
        </pc:graphicFrameChg>
      </pc:sldChg>
      <pc:sldChg chg="ord">
        <pc:chgData name="González Castillo, Camila Jesús" userId="S::cjgonzalezc@achs.cl::31736765-2b00-4d5d-9d65-70370390067e" providerId="AD" clId="Web-{437A593B-5A07-74BD-BE18-F81169B83E04}" dt="2020-07-15T16:15:42.778" v="0"/>
        <pc:sldMkLst>
          <pc:docMk/>
          <pc:sldMk cId="4049561130" sldId="292"/>
        </pc:sldMkLst>
      </pc:sldChg>
      <pc:sldChg chg="mod modShow">
        <pc:chgData name="González Castillo, Camila Jesús" userId="S::cjgonzalezc@achs.cl::31736765-2b00-4d5d-9d65-70370390067e" providerId="AD" clId="Web-{437A593B-5A07-74BD-BE18-F81169B83E04}" dt="2020-07-15T16:34:57.259" v="159"/>
        <pc:sldMkLst>
          <pc:docMk/>
          <pc:sldMk cId="2896270308" sldId="293"/>
        </pc:sldMkLst>
      </pc:sldChg>
      <pc:sldChg chg="del">
        <pc:chgData name="González Castillo, Camila Jesús" userId="S::cjgonzalezc@achs.cl::31736765-2b00-4d5d-9d65-70370390067e" providerId="AD" clId="Web-{437A593B-5A07-74BD-BE18-F81169B83E04}" dt="2020-07-15T16:16:06.936" v="4"/>
        <pc:sldMkLst>
          <pc:docMk/>
          <pc:sldMk cId="2699784752" sldId="295"/>
        </pc:sldMkLst>
      </pc:sldChg>
      <pc:sldChg chg="modSp">
        <pc:chgData name="González Castillo, Camila Jesús" userId="S::cjgonzalezc@achs.cl::31736765-2b00-4d5d-9d65-70370390067e" providerId="AD" clId="Web-{437A593B-5A07-74BD-BE18-F81169B83E04}" dt="2020-07-15T16:16:14.218" v="6" actId="20577"/>
        <pc:sldMkLst>
          <pc:docMk/>
          <pc:sldMk cId="1237034374" sldId="296"/>
        </pc:sldMkLst>
        <pc:graphicFrameChg chg="modGraphic">
          <ac:chgData name="González Castillo, Camila Jesús" userId="S::cjgonzalezc@achs.cl::31736765-2b00-4d5d-9d65-70370390067e" providerId="AD" clId="Web-{437A593B-5A07-74BD-BE18-F81169B83E04}" dt="2020-07-15T16:16:14.218" v="6" actId="20577"/>
          <ac:graphicFrameMkLst>
            <pc:docMk/>
            <pc:sldMk cId="1237034374" sldId="296"/>
            <ac:graphicFrameMk id="13" creationId="{9DDFB9E8-8D70-4910-82F3-45BB22A713FC}"/>
          </ac:graphicFrameMkLst>
        </pc:graphicFrameChg>
      </pc:sldChg>
      <pc:sldChg chg="delSp modSp delAnim modNotes">
        <pc:chgData name="González Castillo, Camila Jesús" userId="S::cjgonzalezc@achs.cl::31736765-2b00-4d5d-9d65-70370390067e" providerId="AD" clId="Web-{437A593B-5A07-74BD-BE18-F81169B83E04}" dt="2020-07-15T16:24:46.009" v="58"/>
        <pc:sldMkLst>
          <pc:docMk/>
          <pc:sldMk cId="1243299585" sldId="297"/>
        </pc:sldMkLst>
        <pc:spChg chg="del">
          <ac:chgData name="González Castillo, Camila Jesús" userId="S::cjgonzalezc@achs.cl::31736765-2b00-4d5d-9d65-70370390067e" providerId="AD" clId="Web-{437A593B-5A07-74BD-BE18-F81169B83E04}" dt="2020-07-15T16:21:14.108" v="27"/>
          <ac:spMkLst>
            <pc:docMk/>
            <pc:sldMk cId="1243299585" sldId="297"/>
            <ac:spMk id="2" creationId="{00000000-0000-0000-0000-000000000000}"/>
          </ac:spMkLst>
        </pc:spChg>
        <pc:graphicFrameChg chg="modGraphic">
          <ac:chgData name="González Castillo, Camila Jesús" userId="S::cjgonzalezc@achs.cl::31736765-2b00-4d5d-9d65-70370390067e" providerId="AD" clId="Web-{437A593B-5A07-74BD-BE18-F81169B83E04}" dt="2020-07-15T16:21:12.092" v="26" actId="20577"/>
          <ac:graphicFrameMkLst>
            <pc:docMk/>
            <pc:sldMk cId="1243299585" sldId="297"/>
            <ac:graphicFrameMk id="13" creationId="{9DDFB9E8-8D70-4910-82F3-45BB22A713FC}"/>
          </ac:graphicFrameMkLst>
        </pc:graphicFrameChg>
      </pc:sldChg>
      <pc:sldChg chg="modSp">
        <pc:chgData name="González Castillo, Camila Jesús" userId="S::cjgonzalezc@achs.cl::31736765-2b00-4d5d-9d65-70370390067e" providerId="AD" clId="Web-{437A593B-5A07-74BD-BE18-F81169B83E04}" dt="2020-07-15T16:33:42.162" v="158" actId="20577"/>
        <pc:sldMkLst>
          <pc:docMk/>
          <pc:sldMk cId="2598736667" sldId="298"/>
        </pc:sldMkLst>
        <pc:graphicFrameChg chg="modGraphic">
          <ac:chgData name="González Castillo, Camila Jesús" userId="S::cjgonzalezc@achs.cl::31736765-2b00-4d5d-9d65-70370390067e" providerId="AD" clId="Web-{437A593B-5A07-74BD-BE18-F81169B83E04}" dt="2020-07-15T16:33:42.162" v="158" actId="20577"/>
          <ac:graphicFrameMkLst>
            <pc:docMk/>
            <pc:sldMk cId="2598736667" sldId="298"/>
            <ac:graphicFrameMk id="13" creationId="{9DDFB9E8-8D70-4910-82F3-45BB22A713FC}"/>
          </ac:graphicFrameMkLst>
        </pc:graphicFrameChg>
      </pc:sldChg>
    </pc:docChg>
  </pc:docChgLst>
  <pc:docChgLst>
    <pc:chgData name="González Castillo, Camila Jesús" userId="S::cjgonzalezc@achs.cl::31736765-2b00-4d5d-9d65-70370390067e" providerId="AD" clId="Web-{917C6425-8DFE-35CE-85EF-95A72E93A5CC}"/>
    <pc:docChg chg="modSld">
      <pc:chgData name="González Castillo, Camila Jesús" userId="S::cjgonzalezc@achs.cl::31736765-2b00-4d5d-9d65-70370390067e" providerId="AD" clId="Web-{917C6425-8DFE-35CE-85EF-95A72E93A5CC}" dt="2020-07-14T21:31:29.108" v="33"/>
      <pc:docMkLst>
        <pc:docMk/>
      </pc:docMkLst>
      <pc:sldChg chg="addSp delSp modSp">
        <pc:chgData name="González Castillo, Camila Jesús" userId="S::cjgonzalezc@achs.cl::31736765-2b00-4d5d-9d65-70370390067e" providerId="AD" clId="Web-{917C6425-8DFE-35CE-85EF-95A72E93A5CC}" dt="2020-07-14T21:31:29.108" v="33"/>
        <pc:sldMkLst>
          <pc:docMk/>
          <pc:sldMk cId="2461183420" sldId="291"/>
        </pc:sldMkLst>
        <pc:spChg chg="mod">
          <ac:chgData name="González Castillo, Camila Jesús" userId="S::cjgonzalezc@achs.cl::31736765-2b00-4d5d-9d65-70370390067e" providerId="AD" clId="Web-{917C6425-8DFE-35CE-85EF-95A72E93A5CC}" dt="2020-07-14T21:30:35.373" v="25" actId="1076"/>
          <ac:spMkLst>
            <pc:docMk/>
            <pc:sldMk cId="2461183420" sldId="291"/>
            <ac:spMk id="16" creationId="{00000000-0000-0000-0000-000000000000}"/>
          </ac:spMkLst>
        </pc:spChg>
        <pc:spChg chg="add del">
          <ac:chgData name="González Castillo, Camila Jesús" userId="S::cjgonzalezc@achs.cl::31736765-2b00-4d5d-9d65-70370390067e" providerId="AD" clId="Web-{917C6425-8DFE-35CE-85EF-95A72E93A5CC}" dt="2020-07-14T21:29:50.575" v="20"/>
          <ac:spMkLst>
            <pc:docMk/>
            <pc:sldMk cId="2461183420" sldId="291"/>
            <ac:spMk id="149" creationId="{9AF756A7-1979-4AC0-81B4-39B3A9A13E3C}"/>
          </ac:spMkLst>
        </pc:spChg>
        <pc:graphicFrameChg chg="modGraphic">
          <ac:chgData name="González Castillo, Camila Jesús" userId="S::cjgonzalezc@achs.cl::31736765-2b00-4d5d-9d65-70370390067e" providerId="AD" clId="Web-{917C6425-8DFE-35CE-85EF-95A72E93A5CC}" dt="2020-07-14T21:29:38.716" v="17"/>
          <ac:graphicFrameMkLst>
            <pc:docMk/>
            <pc:sldMk cId="2461183420" sldId="291"/>
            <ac:graphicFrameMk id="18" creationId="{00000000-0000-0000-0000-000000000000}"/>
          </ac:graphicFrameMkLst>
        </pc:graphicFrameChg>
        <pc:picChg chg="del">
          <ac:chgData name="González Castillo, Camila Jesús" userId="S::cjgonzalezc@achs.cl::31736765-2b00-4d5d-9d65-70370390067e" providerId="AD" clId="Web-{917C6425-8DFE-35CE-85EF-95A72E93A5CC}" dt="2020-07-14T21:30:27.389" v="23"/>
          <ac:picMkLst>
            <pc:docMk/>
            <pc:sldMk cId="2461183420" sldId="291"/>
            <ac:picMk id="20" creationId="{00000000-0000-0000-0000-000000000000}"/>
          </ac:picMkLst>
        </pc:picChg>
        <pc:picChg chg="del">
          <ac:chgData name="González Castillo, Camila Jesús" userId="S::cjgonzalezc@achs.cl::31736765-2b00-4d5d-9d65-70370390067e" providerId="AD" clId="Web-{917C6425-8DFE-35CE-85EF-95A72E93A5CC}" dt="2020-07-14T21:30:28.842" v="24"/>
          <ac:picMkLst>
            <pc:docMk/>
            <pc:sldMk cId="2461183420" sldId="291"/>
            <ac:picMk id="21" creationId="{00000000-0000-0000-0000-000000000000}"/>
          </ac:picMkLst>
        </pc:picChg>
        <pc:picChg chg="add mod">
          <ac:chgData name="González Castillo, Camila Jesús" userId="S::cjgonzalezc@achs.cl::31736765-2b00-4d5d-9d65-70370390067e" providerId="AD" clId="Web-{917C6425-8DFE-35CE-85EF-95A72E93A5CC}" dt="2020-07-14T21:31:29.108" v="33"/>
          <ac:picMkLst>
            <pc:docMk/>
            <pc:sldMk cId="2461183420" sldId="291"/>
            <ac:picMk id="157" creationId="{98362C13-1D24-4DA4-A067-276E67E14620}"/>
          </ac:picMkLst>
        </pc:picChg>
        <pc:cxnChg chg="mod">
          <ac:chgData name="González Castillo, Camila Jesús" userId="S::cjgonzalezc@achs.cl::31736765-2b00-4d5d-9d65-70370390067e" providerId="AD" clId="Web-{917C6425-8DFE-35CE-85EF-95A72E93A5CC}" dt="2020-07-14T21:30:38.076" v="26" actId="1076"/>
          <ac:cxnSpMkLst>
            <pc:docMk/>
            <pc:sldMk cId="2461183420" sldId="291"/>
            <ac:cxnSpMk id="9" creationId="{00000000-0000-0000-0000-000000000000}"/>
          </ac:cxnSpMkLst>
        </pc:cxnChg>
      </pc:sldChg>
    </pc:docChg>
  </pc:docChgLst>
  <pc:docChgLst>
    <pc:chgData name="González Castillo, Camila Jesús" userId="S::cjgonzalezc@achs.cl::31736765-2b00-4d5d-9d65-70370390067e" providerId="AD" clId="Web-{6627FCAD-2215-EA94-9211-43917B31063C}"/>
    <pc:docChg chg="modSld">
      <pc:chgData name="González Castillo, Camila Jesús" userId="S::cjgonzalezc@achs.cl::31736765-2b00-4d5d-9d65-70370390067e" providerId="AD" clId="Web-{6627FCAD-2215-EA94-9211-43917B31063C}" dt="2020-07-13T21:12:50.794" v="12"/>
      <pc:docMkLst>
        <pc:docMk/>
      </pc:docMkLst>
      <pc:sldChg chg="addSp delSp modSp">
        <pc:chgData name="González Castillo, Camila Jesús" userId="S::cjgonzalezc@achs.cl::31736765-2b00-4d5d-9d65-70370390067e" providerId="AD" clId="Web-{6627FCAD-2215-EA94-9211-43917B31063C}" dt="2020-07-13T21:12:50.794" v="12"/>
        <pc:sldMkLst>
          <pc:docMk/>
          <pc:sldMk cId="1011424287" sldId="275"/>
        </pc:sldMkLst>
        <pc:spChg chg="del">
          <ac:chgData name="González Castillo, Camila Jesús" userId="S::cjgonzalezc@achs.cl::31736765-2b00-4d5d-9d65-70370390067e" providerId="AD" clId="Web-{6627FCAD-2215-EA94-9211-43917B31063C}" dt="2020-07-13T21:11:34.962" v="2"/>
          <ac:spMkLst>
            <pc:docMk/>
            <pc:sldMk cId="1011424287" sldId="275"/>
            <ac:spMk id="1654" creationId="{5E86A6FB-FB83-430F-90DD-0F075C44C939}"/>
          </ac:spMkLst>
        </pc:spChg>
        <pc:spChg chg="del">
          <ac:chgData name="González Castillo, Camila Jesús" userId="S::cjgonzalezc@achs.cl::31736765-2b00-4d5d-9d65-70370390067e" providerId="AD" clId="Web-{6627FCAD-2215-EA94-9211-43917B31063C}" dt="2020-07-13T21:11:35.790" v="3"/>
          <ac:spMkLst>
            <pc:docMk/>
            <pc:sldMk cId="1011424287" sldId="275"/>
            <ac:spMk id="1655" creationId="{53F77D53-DEAE-47C0-87C0-EE3A253DA564}"/>
          </ac:spMkLst>
        </pc:spChg>
        <pc:graphicFrameChg chg="add del">
          <ac:chgData name="González Castillo, Camila Jesús" userId="S::cjgonzalezc@achs.cl::31736765-2b00-4d5d-9d65-70370390067e" providerId="AD" clId="Web-{6627FCAD-2215-EA94-9211-43917B31063C}" dt="2020-07-13T21:12:50.794" v="12"/>
          <ac:graphicFrameMkLst>
            <pc:docMk/>
            <pc:sldMk cId="1011424287" sldId="275"/>
            <ac:graphicFrameMk id="9" creationId="{0934CE20-CA00-417C-A2D1-213749213E88}"/>
          </ac:graphicFrameMkLst>
        </pc:graphicFrameChg>
        <pc:picChg chg="add del mod">
          <ac:chgData name="González Castillo, Camila Jesús" userId="S::cjgonzalezc@achs.cl::31736765-2b00-4d5d-9d65-70370390067e" providerId="AD" clId="Web-{6627FCAD-2215-EA94-9211-43917B31063C}" dt="2020-07-13T21:12:49.450" v="11" actId="1076"/>
          <ac:picMkLst>
            <pc:docMk/>
            <pc:sldMk cId="1011424287" sldId="275"/>
            <ac:picMk id="16" creationId="{E9FF82F3-BA4D-4AA7-BFC0-7DAE64843D40}"/>
          </ac:picMkLst>
        </pc:picChg>
        <pc:cxnChg chg="del">
          <ac:chgData name="González Castillo, Camila Jesús" userId="S::cjgonzalezc@achs.cl::31736765-2b00-4d5d-9d65-70370390067e" providerId="AD" clId="Web-{6627FCAD-2215-EA94-9211-43917B31063C}" dt="2020-07-13T21:11:36.587" v="4"/>
          <ac:cxnSpMkLst>
            <pc:docMk/>
            <pc:sldMk cId="1011424287" sldId="275"/>
            <ac:cxnSpMk id="1680" creationId="{CDA6E8E8-D5BC-4A33-B9CD-9F36A58479B5}"/>
          </ac:cxnSpMkLst>
        </pc:cxnChg>
      </pc:sldChg>
    </pc:docChg>
  </pc:docChgLst>
  <pc:docChgLst>
    <pc:chgData name="Fuentes Araya, Cristóbal Francisco" userId="S::cfuentesa@achs.cl::0e9e05e2-f2a9-4d96-a1bf-f516d16b267a" providerId="AD" clId="Web-{4D48D504-BA49-9300-948B-A6249757E5A2}"/>
    <pc:docChg chg="modSld">
      <pc:chgData name="Fuentes Araya, Cristóbal Francisco" userId="S::cfuentesa@achs.cl::0e9e05e2-f2a9-4d96-a1bf-f516d16b267a" providerId="AD" clId="Web-{4D48D504-BA49-9300-948B-A6249757E5A2}" dt="2020-07-14T14:32:06.494" v="18" actId="1076"/>
      <pc:docMkLst>
        <pc:docMk/>
      </pc:docMkLst>
      <pc:sldChg chg="modSp">
        <pc:chgData name="Fuentes Araya, Cristóbal Francisco" userId="S::cfuentesa@achs.cl::0e9e05e2-f2a9-4d96-a1bf-f516d16b267a" providerId="AD" clId="Web-{4D48D504-BA49-9300-948B-A6249757E5A2}" dt="2020-07-14T13:43:20.437" v="16" actId="20577"/>
        <pc:sldMkLst>
          <pc:docMk/>
          <pc:sldMk cId="841501288" sldId="260"/>
        </pc:sldMkLst>
        <pc:spChg chg="mod">
          <ac:chgData name="Fuentes Araya, Cristóbal Francisco" userId="S::cfuentesa@achs.cl::0e9e05e2-f2a9-4d96-a1bf-f516d16b267a" providerId="AD" clId="Web-{4D48D504-BA49-9300-948B-A6249757E5A2}" dt="2020-07-14T13:43:20.437" v="16" actId="20577"/>
          <ac:spMkLst>
            <pc:docMk/>
            <pc:sldMk cId="841501288" sldId="260"/>
            <ac:spMk id="3" creationId="{889CC835-BC98-48D8-9F1C-949042B571D8}"/>
          </ac:spMkLst>
        </pc:spChg>
      </pc:sldChg>
      <pc:sldChg chg="modSp">
        <pc:chgData name="Fuentes Araya, Cristóbal Francisco" userId="S::cfuentesa@achs.cl::0e9e05e2-f2a9-4d96-a1bf-f516d16b267a" providerId="AD" clId="Web-{4D48D504-BA49-9300-948B-A6249757E5A2}" dt="2020-07-14T14:32:06.494" v="18" actId="1076"/>
        <pc:sldMkLst>
          <pc:docMk/>
          <pc:sldMk cId="2909142447" sldId="280"/>
        </pc:sldMkLst>
        <pc:picChg chg="mod">
          <ac:chgData name="Fuentes Araya, Cristóbal Francisco" userId="S::cfuentesa@achs.cl::0e9e05e2-f2a9-4d96-a1bf-f516d16b267a" providerId="AD" clId="Web-{4D48D504-BA49-9300-948B-A6249757E5A2}" dt="2020-07-14T14:32:06.494" v="18" actId="1076"/>
          <ac:picMkLst>
            <pc:docMk/>
            <pc:sldMk cId="2909142447" sldId="280"/>
            <ac:picMk id="7" creationId="{C1675EDF-003E-4509-9F2C-96E088311AA2}"/>
          </ac:picMkLst>
        </pc:picChg>
      </pc:sldChg>
    </pc:docChg>
  </pc:docChgLst>
  <pc:docChgLst>
    <pc:chgData name="Canales Gaete, Valentina Isabel" userId="S::vcanalesg@achs.cl::b46261c7-888a-46b5-8eb2-997fd92a94d2" providerId="AD" clId="Web-{4B1ABF4F-321E-F814-652B-91DA28E216EC}"/>
    <pc:docChg chg="modSld">
      <pc:chgData name="Canales Gaete, Valentina Isabel" userId="S::vcanalesg@achs.cl::b46261c7-888a-46b5-8eb2-997fd92a94d2" providerId="AD" clId="Web-{4B1ABF4F-321E-F814-652B-91DA28E216EC}" dt="2020-07-14T19:25:21.171" v="370"/>
      <pc:docMkLst>
        <pc:docMk/>
      </pc:docMkLst>
      <pc:sldChg chg="addSp delSp modSp">
        <pc:chgData name="Canales Gaete, Valentina Isabel" userId="S::vcanalesg@achs.cl::b46261c7-888a-46b5-8eb2-997fd92a94d2" providerId="AD" clId="Web-{4B1ABF4F-321E-F814-652B-91DA28E216EC}" dt="2020-07-14T19:25:21.171" v="370"/>
        <pc:sldMkLst>
          <pc:docMk/>
          <pc:sldMk cId="3815336811" sldId="285"/>
        </pc:sldMkLst>
        <pc:spChg chg="del mod">
          <ac:chgData name="Canales Gaete, Valentina Isabel" userId="S::vcanalesg@achs.cl::b46261c7-888a-46b5-8eb2-997fd92a94d2" providerId="AD" clId="Web-{4B1ABF4F-321E-F814-652B-91DA28E216EC}" dt="2020-07-14T19:15:51.701" v="306"/>
          <ac:spMkLst>
            <pc:docMk/>
            <pc:sldMk cId="3815336811" sldId="285"/>
            <ac:spMk id="455" creationId="{75DD6BAF-CCFD-4E19-A565-FD97625637D1}"/>
          </ac:spMkLst>
        </pc:spChg>
        <pc:spChg chg="mod">
          <ac:chgData name="Canales Gaete, Valentina Isabel" userId="S::vcanalesg@achs.cl::b46261c7-888a-46b5-8eb2-997fd92a94d2" providerId="AD" clId="Web-{4B1ABF4F-321E-F814-652B-91DA28E216EC}" dt="2020-07-14T19:25:21.171" v="370"/>
          <ac:spMkLst>
            <pc:docMk/>
            <pc:sldMk cId="3815336811" sldId="285"/>
            <ac:spMk id="479" creationId="{F1D974E7-DB21-4ED9-9A65-8A9A7DDF9691}"/>
          </ac:spMkLst>
        </pc:spChg>
        <pc:graphicFrameChg chg="mod ord modGraphic">
          <ac:chgData name="Canales Gaete, Valentina Isabel" userId="S::vcanalesg@achs.cl::b46261c7-888a-46b5-8eb2-997fd92a94d2" providerId="AD" clId="Web-{4B1ABF4F-321E-F814-652B-91DA28E216EC}" dt="2020-07-14T19:21:53.139" v="347" actId="1076"/>
          <ac:graphicFrameMkLst>
            <pc:docMk/>
            <pc:sldMk cId="3815336811" sldId="285"/>
            <ac:graphicFrameMk id="10" creationId="{06942F20-76FB-41EE-833F-018A05A28D68}"/>
          </ac:graphicFrameMkLst>
        </pc:graphicFrameChg>
        <pc:graphicFrameChg chg="add del mod modGraphic">
          <ac:chgData name="Canales Gaete, Valentina Isabel" userId="S::vcanalesg@achs.cl::b46261c7-888a-46b5-8eb2-997fd92a94d2" providerId="AD" clId="Web-{4B1ABF4F-321E-F814-652B-91DA28E216EC}" dt="2020-07-14T19:12:11.903" v="199"/>
          <ac:graphicFrameMkLst>
            <pc:docMk/>
            <pc:sldMk cId="3815336811" sldId="285"/>
            <ac:graphicFrameMk id="1607" creationId="{626A525D-5109-4E27-8602-8570CD68D5F7}"/>
          </ac:graphicFrameMkLst>
        </pc:graphicFrameChg>
        <pc:graphicFrameChg chg="add mod modGraphic">
          <ac:chgData name="Canales Gaete, Valentina Isabel" userId="S::vcanalesg@achs.cl::b46261c7-888a-46b5-8eb2-997fd92a94d2" providerId="AD" clId="Web-{4B1ABF4F-321E-F814-652B-91DA28E216EC}" dt="2020-07-14T19:25:01.843" v="369"/>
          <ac:graphicFrameMkLst>
            <pc:docMk/>
            <pc:sldMk cId="3815336811" sldId="285"/>
            <ac:graphicFrameMk id="1687" creationId="{39B9C8AA-9AEC-4591-896D-FB13B3B97BAC}"/>
          </ac:graphicFrameMkLst>
        </pc:graphicFrameChg>
        <pc:picChg chg="del">
          <ac:chgData name="Canales Gaete, Valentina Isabel" userId="S::vcanalesg@achs.cl::b46261c7-888a-46b5-8eb2-997fd92a94d2" providerId="AD" clId="Web-{4B1ABF4F-321E-F814-652B-91DA28E216EC}" dt="2020-07-14T17:10:03.882" v="11"/>
          <ac:picMkLst>
            <pc:docMk/>
            <pc:sldMk cId="3815336811" sldId="285"/>
            <ac:picMk id="7" creationId="{E1A4CAF1-0138-4343-8B5A-1DE7B11EFADC}"/>
          </ac:picMkLst>
        </pc:picChg>
        <pc:picChg chg="add mod ord">
          <ac:chgData name="Canales Gaete, Valentina Isabel" userId="S::vcanalesg@achs.cl::b46261c7-888a-46b5-8eb2-997fd92a94d2" providerId="AD" clId="Web-{4B1ABF4F-321E-F814-652B-91DA28E216EC}" dt="2020-07-14T19:21:15.717" v="340" actId="1076"/>
          <ac:picMkLst>
            <pc:docMk/>
            <pc:sldMk cId="3815336811" sldId="285"/>
            <ac:picMk id="20" creationId="{854E904D-C40B-4257-99E1-CF1D1D458346}"/>
          </ac:picMkLst>
        </pc:picChg>
        <pc:picChg chg="del">
          <ac:chgData name="Canales Gaete, Valentina Isabel" userId="S::vcanalesg@achs.cl::b46261c7-888a-46b5-8eb2-997fd92a94d2" providerId="AD" clId="Web-{4B1ABF4F-321E-F814-652B-91DA28E216EC}" dt="2020-07-14T17:09:59.444" v="10"/>
          <ac:picMkLst>
            <pc:docMk/>
            <pc:sldMk cId="3815336811" sldId="285"/>
            <ac:picMk id="418" creationId="{70E332FD-4B41-40FB-B749-A5F6AD80231F}"/>
          </ac:picMkLst>
        </pc:picChg>
        <pc:picChg chg="add del mod">
          <ac:chgData name="Canales Gaete, Valentina Isabel" userId="S::vcanalesg@achs.cl::b46261c7-888a-46b5-8eb2-997fd92a94d2" providerId="AD" clId="Web-{4B1ABF4F-321E-F814-652B-91DA28E216EC}" dt="2020-07-14T19:23:04.030" v="355"/>
          <ac:picMkLst>
            <pc:docMk/>
            <pc:sldMk cId="3815336811" sldId="285"/>
            <ac:picMk id="1573" creationId="{F9A2D0DC-15EC-493C-9671-5DC85CF4AF58}"/>
          </ac:picMkLst>
        </pc:picChg>
        <pc:picChg chg="add mod">
          <ac:chgData name="Canales Gaete, Valentina Isabel" userId="S::vcanalesg@achs.cl::b46261c7-888a-46b5-8eb2-997fd92a94d2" providerId="AD" clId="Web-{4B1ABF4F-321E-F814-652B-91DA28E216EC}" dt="2020-07-14T19:24:14.359" v="367" actId="14100"/>
          <ac:picMkLst>
            <pc:docMk/>
            <pc:sldMk cId="3815336811" sldId="285"/>
            <ac:picMk id="3066" creationId="{F9154EA8-C4A8-47F1-9756-CC9BC99137E4}"/>
          </ac:picMkLst>
        </pc:picChg>
      </pc:sldChg>
      <pc:sldChg chg="modSp">
        <pc:chgData name="Canales Gaete, Valentina Isabel" userId="S::vcanalesg@achs.cl::b46261c7-888a-46b5-8eb2-997fd92a94d2" providerId="AD" clId="Web-{4B1ABF4F-321E-F814-652B-91DA28E216EC}" dt="2020-07-14T17:05:01.387" v="7" actId="20577"/>
        <pc:sldMkLst>
          <pc:docMk/>
          <pc:sldMk cId="4049561130" sldId="292"/>
        </pc:sldMkLst>
        <pc:spChg chg="mod">
          <ac:chgData name="Canales Gaete, Valentina Isabel" userId="S::vcanalesg@achs.cl::b46261c7-888a-46b5-8eb2-997fd92a94d2" providerId="AD" clId="Web-{4B1ABF4F-321E-F814-652B-91DA28E216EC}" dt="2020-07-14T17:05:01.387" v="7" actId="20577"/>
          <ac:spMkLst>
            <pc:docMk/>
            <pc:sldMk cId="4049561130" sldId="292"/>
            <ac:spMk id="4" creationId="{6BBD57EC-49BF-406C-AC07-1ED312A7ABDD}"/>
          </ac:spMkLst>
        </pc:spChg>
        <pc:spChg chg="mod">
          <ac:chgData name="Canales Gaete, Valentina Isabel" userId="S::vcanalesg@achs.cl::b46261c7-888a-46b5-8eb2-997fd92a94d2" providerId="AD" clId="Web-{4B1ABF4F-321E-F814-652B-91DA28E216EC}" dt="2020-07-14T17:04:56.012" v="5" actId="20577"/>
          <ac:spMkLst>
            <pc:docMk/>
            <pc:sldMk cId="4049561130" sldId="292"/>
            <ac:spMk id="13" creationId="{3524555C-6C66-441E-AAD9-E0434A96BEEC}"/>
          </ac:spMkLst>
        </pc:spChg>
      </pc:sldChg>
    </pc:docChg>
  </pc:docChgLst>
  <pc:docChgLst>
    <pc:chgData name="González Castillo, Camila Jesús" userId="S::cjgonzalezc@achs.cl::31736765-2b00-4d5d-9d65-70370390067e" providerId="AD" clId="Web-{2CEE94A0-12D7-2365-ECE8-DBC02EF6D3DD}"/>
    <pc:docChg chg="modSld">
      <pc:chgData name="González Castillo, Camila Jesús" userId="S::cjgonzalezc@achs.cl::31736765-2b00-4d5d-9d65-70370390067e" providerId="AD" clId="Web-{2CEE94A0-12D7-2365-ECE8-DBC02EF6D3DD}" dt="2020-07-15T17:25:38.316" v="434"/>
      <pc:docMkLst>
        <pc:docMk/>
      </pc:docMkLst>
      <pc:sldChg chg="addSp delSp modSp">
        <pc:chgData name="González Castillo, Camila Jesús" userId="S::cjgonzalezc@achs.cl::31736765-2b00-4d5d-9d65-70370390067e" providerId="AD" clId="Web-{2CEE94A0-12D7-2365-ECE8-DBC02EF6D3DD}" dt="2020-07-15T17:25:38.316" v="434"/>
        <pc:sldMkLst>
          <pc:docMk/>
          <pc:sldMk cId="2584740091" sldId="271"/>
        </pc:sldMkLst>
        <pc:spChg chg="mod">
          <ac:chgData name="González Castillo, Camila Jesús" userId="S::cjgonzalezc@achs.cl::31736765-2b00-4d5d-9d65-70370390067e" providerId="AD" clId="Web-{2CEE94A0-12D7-2365-ECE8-DBC02EF6D3DD}" dt="2020-07-15T17:13:26.555" v="413" actId="14100"/>
          <ac:spMkLst>
            <pc:docMk/>
            <pc:sldMk cId="2584740091" sldId="271"/>
            <ac:spMk id="7" creationId="{00000000-0000-0000-0000-000000000000}"/>
          </ac:spMkLst>
        </pc:spChg>
        <pc:spChg chg="del mod">
          <ac:chgData name="González Castillo, Camila Jesús" userId="S::cjgonzalezc@achs.cl::31736765-2b00-4d5d-9d65-70370390067e" providerId="AD" clId="Web-{2CEE94A0-12D7-2365-ECE8-DBC02EF6D3DD}" dt="2020-07-15T17:09:40.525" v="329"/>
          <ac:spMkLst>
            <pc:docMk/>
            <pc:sldMk cId="2584740091" sldId="271"/>
            <ac:spMk id="10" creationId="{3EFCD460-1EEE-4526-BB42-FAC0D7BDE204}"/>
          </ac:spMkLst>
        </pc:spChg>
        <pc:graphicFrameChg chg="add mod modGraphic">
          <ac:chgData name="González Castillo, Camila Jesús" userId="S::cjgonzalezc@achs.cl::31736765-2b00-4d5d-9d65-70370390067e" providerId="AD" clId="Web-{2CEE94A0-12D7-2365-ECE8-DBC02EF6D3DD}" dt="2020-07-15T17:13:17.945" v="411" actId="1076"/>
          <ac:graphicFrameMkLst>
            <pc:docMk/>
            <pc:sldMk cId="2584740091" sldId="271"/>
            <ac:graphicFrameMk id="8" creationId="{06F96DD5-8903-45E0-BA17-ED84BA1C836A}"/>
          </ac:graphicFrameMkLst>
        </pc:graphicFrameChg>
        <pc:picChg chg="del">
          <ac:chgData name="González Castillo, Camila Jesús" userId="S::cjgonzalezc@achs.cl::31736765-2b00-4d5d-9d65-70370390067e" providerId="AD" clId="Web-{2CEE94A0-12D7-2365-ECE8-DBC02EF6D3DD}" dt="2020-07-15T17:11:59.743" v="409"/>
          <ac:picMkLst>
            <pc:docMk/>
            <pc:sldMk cId="2584740091" sldId="271"/>
            <ac:picMk id="11" creationId="{BFF467F9-90C4-4586-8D02-62A67E40AFC7}"/>
          </ac:picMkLst>
        </pc:picChg>
        <pc:picChg chg="mod">
          <ac:chgData name="González Castillo, Camila Jesús" userId="S::cjgonzalezc@achs.cl::31736765-2b00-4d5d-9d65-70370390067e" providerId="AD" clId="Web-{2CEE94A0-12D7-2365-ECE8-DBC02EF6D3DD}" dt="2020-07-15T17:21:47.630" v="428" actId="1076"/>
          <ac:picMkLst>
            <pc:docMk/>
            <pc:sldMk cId="2584740091" sldId="271"/>
            <ac:picMk id="665" creationId="{6C671B1E-754E-47EE-A94D-7539491894E1}"/>
          </ac:picMkLst>
        </pc:picChg>
        <pc:picChg chg="add del mod">
          <ac:chgData name="González Castillo, Camila Jesús" userId="S::cjgonzalezc@achs.cl::31736765-2b00-4d5d-9d65-70370390067e" providerId="AD" clId="Web-{2CEE94A0-12D7-2365-ECE8-DBC02EF6D3DD}" dt="2020-07-15T17:25:38.316" v="434"/>
          <ac:picMkLst>
            <pc:docMk/>
            <pc:sldMk cId="2584740091" sldId="271"/>
            <ac:picMk id="2168" creationId="{67C94199-975E-4B1E-9492-9D4C7156441C}"/>
          </ac:picMkLst>
        </pc:picChg>
      </pc:sldChg>
      <pc:sldChg chg="addSp delSp modSp">
        <pc:chgData name="González Castillo, Camila Jesús" userId="S::cjgonzalezc@achs.cl::31736765-2b00-4d5d-9d65-70370390067e" providerId="AD" clId="Web-{2CEE94A0-12D7-2365-ECE8-DBC02EF6D3DD}" dt="2020-07-15T17:00:15.871" v="149" actId="1076"/>
        <pc:sldMkLst>
          <pc:docMk/>
          <pc:sldMk cId="1914114345" sldId="283"/>
        </pc:sldMkLst>
        <pc:spChg chg="mod">
          <ac:chgData name="González Castillo, Camila Jesús" userId="S::cjgonzalezc@achs.cl::31736765-2b00-4d5d-9d65-70370390067e" providerId="AD" clId="Web-{2CEE94A0-12D7-2365-ECE8-DBC02EF6D3DD}" dt="2020-07-15T16:55:37.248" v="93" actId="1076"/>
          <ac:spMkLst>
            <pc:docMk/>
            <pc:sldMk cId="1914114345" sldId="283"/>
            <ac:spMk id="7" creationId="{7DBFA9C2-C0FE-428F-9855-72E123A3386A}"/>
          </ac:spMkLst>
        </pc:spChg>
        <pc:spChg chg="mod">
          <ac:chgData name="González Castillo, Camila Jesús" userId="S::cjgonzalezc@achs.cl::31736765-2b00-4d5d-9d65-70370390067e" providerId="AD" clId="Web-{2CEE94A0-12D7-2365-ECE8-DBC02EF6D3DD}" dt="2020-07-15T16:55:50.935" v="98" actId="1076"/>
          <ac:spMkLst>
            <pc:docMk/>
            <pc:sldMk cId="1914114345" sldId="283"/>
            <ac:spMk id="12" creationId="{BB4BD252-07C8-411A-8721-EA1F2D03C189}"/>
          </ac:spMkLst>
        </pc:spChg>
        <pc:spChg chg="mod">
          <ac:chgData name="González Castillo, Camila Jesús" userId="S::cjgonzalezc@achs.cl::31736765-2b00-4d5d-9d65-70370390067e" providerId="AD" clId="Web-{2CEE94A0-12D7-2365-ECE8-DBC02EF6D3DD}" dt="2020-07-15T16:55:30.920" v="91" actId="14100"/>
          <ac:spMkLst>
            <pc:docMk/>
            <pc:sldMk cId="1914114345" sldId="283"/>
            <ac:spMk id="13" creationId="{3F0DA6EB-4437-495B-9522-0AAB8D81E247}"/>
          </ac:spMkLst>
        </pc:spChg>
        <pc:picChg chg="add mod modCrop">
          <ac:chgData name="González Castillo, Camila Jesús" userId="S::cjgonzalezc@achs.cl::31736765-2b00-4d5d-9d65-70370390067e" providerId="AD" clId="Web-{2CEE94A0-12D7-2365-ECE8-DBC02EF6D3DD}" dt="2020-07-15T16:56:52.373" v="113" actId="1076"/>
          <ac:picMkLst>
            <pc:docMk/>
            <pc:sldMk cId="1914114345" sldId="283"/>
            <ac:picMk id="5" creationId="{19503C98-B4F5-4277-BC59-CAA31DD69581}"/>
          </ac:picMkLst>
        </pc:picChg>
        <pc:picChg chg="mod">
          <ac:chgData name="González Castillo, Camila Jesús" userId="S::cjgonzalezc@achs.cl::31736765-2b00-4d5d-9d65-70370390067e" providerId="AD" clId="Web-{2CEE94A0-12D7-2365-ECE8-DBC02EF6D3DD}" dt="2020-07-15T16:56:33.185" v="105" actId="1076"/>
          <ac:picMkLst>
            <pc:docMk/>
            <pc:sldMk cId="1914114345" sldId="283"/>
            <ac:picMk id="8" creationId="{8676526F-3222-4740-ABFB-047B3FA7A66C}"/>
          </ac:picMkLst>
        </pc:picChg>
        <pc:picChg chg="add del mod">
          <ac:chgData name="González Castillo, Camila Jesús" userId="S::cjgonzalezc@achs.cl::31736765-2b00-4d5d-9d65-70370390067e" providerId="AD" clId="Web-{2CEE94A0-12D7-2365-ECE8-DBC02EF6D3DD}" dt="2020-07-15T16:59:30.059" v="136"/>
          <ac:picMkLst>
            <pc:docMk/>
            <pc:sldMk cId="1914114345" sldId="283"/>
            <ac:picMk id="9" creationId="{3C27146C-A4B2-49EF-BEBD-2436F3D43CB5}"/>
          </ac:picMkLst>
        </pc:picChg>
        <pc:picChg chg="mod">
          <ac:chgData name="González Castillo, Camila Jesús" userId="S::cjgonzalezc@achs.cl::31736765-2b00-4d5d-9d65-70370390067e" providerId="AD" clId="Web-{2CEE94A0-12D7-2365-ECE8-DBC02EF6D3DD}" dt="2020-07-15T16:56:34.748" v="106" actId="1076"/>
          <ac:picMkLst>
            <pc:docMk/>
            <pc:sldMk cId="1914114345" sldId="283"/>
            <ac:picMk id="10" creationId="{20E19F32-0F59-4E85-9912-CDB067661AB6}"/>
          </ac:picMkLst>
        </pc:picChg>
        <pc:picChg chg="add mod modCrop">
          <ac:chgData name="González Castillo, Camila Jesús" userId="S::cjgonzalezc@achs.cl::31736765-2b00-4d5d-9d65-70370390067e" providerId="AD" clId="Web-{2CEE94A0-12D7-2365-ECE8-DBC02EF6D3DD}" dt="2020-07-15T17:00:15.871" v="149" actId="1076"/>
          <ac:picMkLst>
            <pc:docMk/>
            <pc:sldMk cId="1914114345" sldId="283"/>
            <ac:picMk id="11" creationId="{441ACCEA-4D34-4FA7-8155-086EA83D3869}"/>
          </ac:picMkLst>
        </pc:picChg>
        <pc:picChg chg="add del mod modCrop">
          <ac:chgData name="González Castillo, Camila Jesús" userId="S::cjgonzalezc@achs.cl::31736765-2b00-4d5d-9d65-70370390067e" providerId="AD" clId="Web-{2CEE94A0-12D7-2365-ECE8-DBC02EF6D3DD}" dt="2020-07-15T16:54:48.654" v="16"/>
          <ac:picMkLst>
            <pc:docMk/>
            <pc:sldMk cId="1914114345" sldId="283"/>
            <ac:picMk id="14" creationId="{72A035A5-F00B-4ACB-812E-1E8DA72A0CDA}"/>
          </ac:picMkLst>
        </pc:picChg>
      </pc:sldChg>
      <pc:sldChg chg="delSp modSp">
        <pc:chgData name="González Castillo, Camila Jesús" userId="S::cjgonzalezc@achs.cl::31736765-2b00-4d5d-9d65-70370390067e" providerId="AD" clId="Web-{2CEE94A0-12D7-2365-ECE8-DBC02EF6D3DD}" dt="2020-07-15T17:16:22.022" v="426" actId="1076"/>
        <pc:sldMkLst>
          <pc:docMk/>
          <pc:sldMk cId="3815336811" sldId="285"/>
        </pc:sldMkLst>
        <pc:picChg chg="mod">
          <ac:chgData name="González Castillo, Camila Jesús" userId="S::cjgonzalezc@achs.cl::31736765-2b00-4d5d-9d65-70370390067e" providerId="AD" clId="Web-{2CEE94A0-12D7-2365-ECE8-DBC02EF6D3DD}" dt="2020-07-15T17:16:22.022" v="426" actId="1076"/>
          <ac:picMkLst>
            <pc:docMk/>
            <pc:sldMk cId="3815336811" sldId="285"/>
            <ac:picMk id="52" creationId="{573A825E-5F49-4AC6-8414-16F44FE7C667}"/>
          </ac:picMkLst>
        </pc:picChg>
        <pc:picChg chg="del">
          <ac:chgData name="González Castillo, Camila Jesús" userId="S::cjgonzalezc@achs.cl::31736765-2b00-4d5d-9d65-70370390067e" providerId="AD" clId="Web-{2CEE94A0-12D7-2365-ECE8-DBC02EF6D3DD}" dt="2020-07-15T17:16:01.976" v="417"/>
          <ac:picMkLst>
            <pc:docMk/>
            <pc:sldMk cId="3815336811" sldId="285"/>
            <ac:picMk id="3066" creationId="{F9154EA8-C4A8-47F1-9756-CC9BC99137E4}"/>
          </ac:picMkLst>
        </pc:picChg>
      </pc:sldChg>
    </pc:docChg>
  </pc:docChgLst>
  <pc:docChgLst>
    <pc:chgData name="González Castillo, Camila Jesús" userId="S::cjgonzalezc@achs.cl::31736765-2b00-4d5d-9d65-70370390067e" providerId="AD" clId="Web-{46E226BB-D322-0836-2A22-6A7897702DB9}"/>
    <pc:docChg chg="">
      <pc:chgData name="González Castillo, Camila Jesús" userId="S::cjgonzalezc@achs.cl::31736765-2b00-4d5d-9d65-70370390067e" providerId="AD" clId="Web-{46E226BB-D322-0836-2A22-6A7897702DB9}" dt="2020-07-13T21:17:34.675" v="0"/>
      <pc:docMkLst>
        <pc:docMk/>
      </pc:docMkLst>
      <pc:sldChg chg="delCm">
        <pc:chgData name="González Castillo, Camila Jesús" userId="S::cjgonzalezc@achs.cl::31736765-2b00-4d5d-9d65-70370390067e" providerId="AD" clId="Web-{46E226BB-D322-0836-2A22-6A7897702DB9}" dt="2020-07-13T21:17:34.675" v="0"/>
        <pc:sldMkLst>
          <pc:docMk/>
          <pc:sldMk cId="841501288" sldId="260"/>
        </pc:sldMkLst>
      </pc:sldChg>
    </pc:docChg>
  </pc:docChgLst>
  <pc:docChgLst>
    <pc:chgData name="Fuentes Araya, Cristóbal Francisco" userId="S::cfuentesa@achs.cl::0e9e05e2-f2a9-4d96-a1bf-f516d16b267a" providerId="AD" clId="Web-{32D71360-BD96-2FB5-48D6-C771B114B80B}"/>
    <pc:docChg chg="addSld delSld modSld">
      <pc:chgData name="Fuentes Araya, Cristóbal Francisco" userId="S::cfuentesa@achs.cl::0e9e05e2-f2a9-4d96-a1bf-f516d16b267a" providerId="AD" clId="Web-{32D71360-BD96-2FB5-48D6-C771B114B80B}" dt="2020-07-15T17:39:23.690" v="225" actId="20577"/>
      <pc:docMkLst>
        <pc:docMk/>
      </pc:docMkLst>
      <pc:sldChg chg="addSp modSp">
        <pc:chgData name="Fuentes Araya, Cristóbal Francisco" userId="S::cfuentesa@achs.cl::0e9e05e2-f2a9-4d96-a1bf-f516d16b267a" providerId="AD" clId="Web-{32D71360-BD96-2FB5-48D6-C771B114B80B}" dt="2020-07-15T17:21:06.518" v="150" actId="1076"/>
        <pc:sldMkLst>
          <pc:docMk/>
          <pc:sldMk cId="2584740091" sldId="271"/>
        </pc:sldMkLst>
        <pc:picChg chg="add mod">
          <ac:chgData name="Fuentes Araya, Cristóbal Francisco" userId="S::cfuentesa@achs.cl::0e9e05e2-f2a9-4d96-a1bf-f516d16b267a" providerId="AD" clId="Web-{32D71360-BD96-2FB5-48D6-C771B114B80B}" dt="2020-07-15T17:21:06.518" v="150" actId="1076"/>
          <ac:picMkLst>
            <pc:docMk/>
            <pc:sldMk cId="2584740091" sldId="271"/>
            <ac:picMk id="665" creationId="{6C671B1E-754E-47EE-A94D-7539491894E1}"/>
          </ac:picMkLst>
        </pc:picChg>
      </pc:sldChg>
      <pc:sldChg chg="del">
        <pc:chgData name="Fuentes Araya, Cristóbal Francisco" userId="S::cfuentesa@achs.cl::0e9e05e2-f2a9-4d96-a1bf-f516d16b267a" providerId="AD" clId="Web-{32D71360-BD96-2FB5-48D6-C771B114B80B}" dt="2020-07-15T17:36:54.931" v="215"/>
        <pc:sldMkLst>
          <pc:docMk/>
          <pc:sldMk cId="1355606145" sldId="277"/>
        </pc:sldMkLst>
      </pc:sldChg>
      <pc:sldChg chg="delSp modSp">
        <pc:chgData name="Fuentes Araya, Cristóbal Francisco" userId="S::cfuentesa@achs.cl::0e9e05e2-f2a9-4d96-a1bf-f516d16b267a" providerId="AD" clId="Web-{32D71360-BD96-2FB5-48D6-C771B114B80B}" dt="2020-07-15T17:00:03.461" v="7" actId="1076"/>
        <pc:sldMkLst>
          <pc:docMk/>
          <pc:sldMk cId="1914114345" sldId="283"/>
        </pc:sldMkLst>
        <pc:spChg chg="mod">
          <ac:chgData name="Fuentes Araya, Cristóbal Francisco" userId="S::cfuentesa@achs.cl::0e9e05e2-f2a9-4d96-a1bf-f516d16b267a" providerId="AD" clId="Web-{32D71360-BD96-2FB5-48D6-C771B114B80B}" dt="2020-07-15T16:55:05.006" v="2" actId="1076"/>
          <ac:spMkLst>
            <pc:docMk/>
            <pc:sldMk cId="1914114345" sldId="283"/>
            <ac:spMk id="12" creationId="{BB4BD252-07C8-411A-8721-EA1F2D03C189}"/>
          </ac:spMkLst>
        </pc:spChg>
        <pc:spChg chg="del mod">
          <ac:chgData name="Fuentes Araya, Cristóbal Francisco" userId="S::cfuentesa@achs.cl::0e9e05e2-f2a9-4d96-a1bf-f516d16b267a" providerId="AD" clId="Web-{32D71360-BD96-2FB5-48D6-C771B114B80B}" dt="2020-07-15T16:55:09.007" v="3"/>
          <ac:spMkLst>
            <pc:docMk/>
            <pc:sldMk cId="1914114345" sldId="283"/>
            <ac:spMk id="16" creationId="{1806B1FA-BA78-4FAF-9476-232585FA0231}"/>
          </ac:spMkLst>
        </pc:spChg>
        <pc:picChg chg="mod">
          <ac:chgData name="Fuentes Araya, Cristóbal Francisco" userId="S::cfuentesa@achs.cl::0e9e05e2-f2a9-4d96-a1bf-f516d16b267a" providerId="AD" clId="Web-{32D71360-BD96-2FB5-48D6-C771B114B80B}" dt="2020-07-15T16:55:18.132" v="5" actId="1076"/>
          <ac:picMkLst>
            <pc:docMk/>
            <pc:sldMk cId="1914114345" sldId="283"/>
            <ac:picMk id="5" creationId="{19503C98-B4F5-4277-BC59-CAA31DD69581}"/>
          </ac:picMkLst>
        </pc:picChg>
        <pc:picChg chg="del">
          <ac:chgData name="Fuentes Araya, Cristóbal Francisco" userId="S::cfuentesa@achs.cl::0e9e05e2-f2a9-4d96-a1bf-f516d16b267a" providerId="AD" clId="Web-{32D71360-BD96-2FB5-48D6-C771B114B80B}" dt="2020-07-15T16:55:11.804" v="4"/>
          <ac:picMkLst>
            <pc:docMk/>
            <pc:sldMk cId="1914114345" sldId="283"/>
            <ac:picMk id="6" creationId="{BAED4526-BB13-4BC6-B334-E685AFE53A2B}"/>
          </ac:picMkLst>
        </pc:picChg>
        <pc:picChg chg="mod">
          <ac:chgData name="Fuentes Araya, Cristóbal Francisco" userId="S::cfuentesa@achs.cl::0e9e05e2-f2a9-4d96-a1bf-f516d16b267a" providerId="AD" clId="Web-{32D71360-BD96-2FB5-48D6-C771B114B80B}" dt="2020-07-15T17:00:03.461" v="7" actId="1076"/>
          <ac:picMkLst>
            <pc:docMk/>
            <pc:sldMk cId="1914114345" sldId="283"/>
            <ac:picMk id="11" creationId="{441ACCEA-4D34-4FA7-8155-086EA83D3869}"/>
          </ac:picMkLst>
        </pc:picChg>
      </pc:sldChg>
      <pc:sldChg chg="modSp">
        <pc:chgData name="Fuentes Araya, Cristóbal Francisco" userId="S::cfuentesa@achs.cl::0e9e05e2-f2a9-4d96-a1bf-f516d16b267a" providerId="AD" clId="Web-{32D71360-BD96-2FB5-48D6-C771B114B80B}" dt="2020-07-15T17:38:46.953" v="218" actId="20577"/>
        <pc:sldMkLst>
          <pc:docMk/>
          <pc:sldMk cId="601178622" sldId="289"/>
        </pc:sldMkLst>
        <pc:graphicFrameChg chg="modGraphic">
          <ac:chgData name="Fuentes Araya, Cristóbal Francisco" userId="S::cfuentesa@achs.cl::0e9e05e2-f2a9-4d96-a1bf-f516d16b267a" providerId="AD" clId="Web-{32D71360-BD96-2FB5-48D6-C771B114B80B}" dt="2020-07-15T17:38:46.953" v="218" actId="20577"/>
          <ac:graphicFrameMkLst>
            <pc:docMk/>
            <pc:sldMk cId="601178622" sldId="289"/>
            <ac:graphicFrameMk id="13" creationId="{9DDFB9E8-8D70-4910-82F3-45BB22A713FC}"/>
          </ac:graphicFrameMkLst>
        </pc:graphicFrameChg>
      </pc:sldChg>
      <pc:sldChg chg="modSp">
        <pc:chgData name="Fuentes Araya, Cristóbal Francisco" userId="S::cfuentesa@achs.cl::0e9e05e2-f2a9-4d96-a1bf-f516d16b267a" providerId="AD" clId="Web-{32D71360-BD96-2FB5-48D6-C771B114B80B}" dt="2020-07-15T17:38:59.517" v="221" actId="20577"/>
        <pc:sldMkLst>
          <pc:docMk/>
          <pc:sldMk cId="1237034374" sldId="296"/>
        </pc:sldMkLst>
        <pc:graphicFrameChg chg="modGraphic">
          <ac:chgData name="Fuentes Araya, Cristóbal Francisco" userId="S::cfuentesa@achs.cl::0e9e05e2-f2a9-4d96-a1bf-f516d16b267a" providerId="AD" clId="Web-{32D71360-BD96-2FB5-48D6-C771B114B80B}" dt="2020-07-15T17:38:59.517" v="221" actId="20577"/>
          <ac:graphicFrameMkLst>
            <pc:docMk/>
            <pc:sldMk cId="1237034374" sldId="296"/>
            <ac:graphicFrameMk id="13" creationId="{9DDFB9E8-8D70-4910-82F3-45BB22A713FC}"/>
          </ac:graphicFrameMkLst>
        </pc:graphicFrameChg>
      </pc:sldChg>
      <pc:sldChg chg="modSp">
        <pc:chgData name="Fuentes Araya, Cristóbal Francisco" userId="S::cfuentesa@achs.cl::0e9e05e2-f2a9-4d96-a1bf-f516d16b267a" providerId="AD" clId="Web-{32D71360-BD96-2FB5-48D6-C771B114B80B}" dt="2020-07-15T17:39:23.690" v="225" actId="20577"/>
        <pc:sldMkLst>
          <pc:docMk/>
          <pc:sldMk cId="1243299585" sldId="297"/>
        </pc:sldMkLst>
        <pc:graphicFrameChg chg="modGraphic">
          <ac:chgData name="Fuentes Araya, Cristóbal Francisco" userId="S::cfuentesa@achs.cl::0e9e05e2-f2a9-4d96-a1bf-f516d16b267a" providerId="AD" clId="Web-{32D71360-BD96-2FB5-48D6-C771B114B80B}" dt="2020-07-15T17:39:23.690" v="225" actId="20577"/>
          <ac:graphicFrameMkLst>
            <pc:docMk/>
            <pc:sldMk cId="1243299585" sldId="297"/>
            <ac:graphicFrameMk id="13" creationId="{9DDFB9E8-8D70-4910-82F3-45BB22A713FC}"/>
          </ac:graphicFrameMkLst>
        </pc:graphicFrameChg>
      </pc:sldChg>
      <pc:sldChg chg="addSp delSp modSp add replId">
        <pc:chgData name="Fuentes Araya, Cristóbal Francisco" userId="S::cfuentesa@achs.cl::0e9e05e2-f2a9-4d96-a1bf-f516d16b267a" providerId="AD" clId="Web-{32D71360-BD96-2FB5-48D6-C771B114B80B}" dt="2020-07-15T17:35:09.722" v="214" actId="20577"/>
        <pc:sldMkLst>
          <pc:docMk/>
          <pc:sldMk cId="4173160200" sldId="299"/>
        </pc:sldMkLst>
        <pc:spChg chg="del mod">
          <ac:chgData name="Fuentes Araya, Cristóbal Francisco" userId="S::cfuentesa@achs.cl::0e9e05e2-f2a9-4d96-a1bf-f516d16b267a" providerId="AD" clId="Web-{32D71360-BD96-2FB5-48D6-C771B114B80B}" dt="2020-07-15T17:05:17.854" v="35"/>
          <ac:spMkLst>
            <pc:docMk/>
            <pc:sldMk cId="4173160200" sldId="299"/>
            <ac:spMk id="5" creationId="{DD96E327-D806-4F2F-A39C-FD5C6DA7CC68}"/>
          </ac:spMkLst>
        </pc:spChg>
        <pc:spChg chg="del">
          <ac:chgData name="Fuentes Araya, Cristóbal Francisco" userId="S::cfuentesa@achs.cl::0e9e05e2-f2a9-4d96-a1bf-f516d16b267a" providerId="AD" clId="Web-{32D71360-BD96-2FB5-48D6-C771B114B80B}" dt="2020-07-15T17:05:17.854" v="36"/>
          <ac:spMkLst>
            <pc:docMk/>
            <pc:sldMk cId="4173160200" sldId="299"/>
            <ac:spMk id="8" creationId="{6E5387B8-BC70-45AA-B519-387D8C4E0900}"/>
          </ac:spMkLst>
        </pc:spChg>
        <pc:spChg chg="add del mod">
          <ac:chgData name="Fuentes Araya, Cristóbal Francisco" userId="S::cfuentesa@achs.cl::0e9e05e2-f2a9-4d96-a1bf-f516d16b267a" providerId="AD" clId="Web-{32D71360-BD96-2FB5-48D6-C771B114B80B}" dt="2020-07-15T17:06:29.874" v="59"/>
          <ac:spMkLst>
            <pc:docMk/>
            <pc:sldMk cId="4173160200" sldId="299"/>
            <ac:spMk id="9" creationId="{B7030F6B-5125-41E4-83BC-5252C7325CAB}"/>
          </ac:spMkLst>
        </pc:spChg>
        <pc:spChg chg="add mod ord">
          <ac:chgData name="Fuentes Araya, Cristóbal Francisco" userId="S::cfuentesa@achs.cl::0e9e05e2-f2a9-4d96-a1bf-f516d16b267a" providerId="AD" clId="Web-{32D71360-BD96-2FB5-48D6-C771B114B80B}" dt="2020-07-15T17:34:37.361" v="180" actId="1076"/>
          <ac:spMkLst>
            <pc:docMk/>
            <pc:sldMk cId="4173160200" sldId="299"/>
            <ac:spMk id="10" creationId="{35AB8D15-E8C1-4019-ACBF-8A1661A19944}"/>
          </ac:spMkLst>
        </pc:spChg>
        <pc:spChg chg="add mod">
          <ac:chgData name="Fuentes Araya, Cristóbal Francisco" userId="S::cfuentesa@achs.cl::0e9e05e2-f2a9-4d96-a1bf-f516d16b267a" providerId="AD" clId="Web-{32D71360-BD96-2FB5-48D6-C771B114B80B}" dt="2020-07-15T17:34:40.986" v="181" actId="1076"/>
          <ac:spMkLst>
            <pc:docMk/>
            <pc:sldMk cId="4173160200" sldId="299"/>
            <ac:spMk id="11" creationId="{9B7EFA96-A62A-4002-8690-A5934162CDEA}"/>
          </ac:spMkLst>
        </pc:spChg>
        <pc:spChg chg="add mod">
          <ac:chgData name="Fuentes Araya, Cristóbal Francisco" userId="S::cfuentesa@achs.cl::0e9e05e2-f2a9-4d96-a1bf-f516d16b267a" providerId="AD" clId="Web-{32D71360-BD96-2FB5-48D6-C771B114B80B}" dt="2020-07-15T17:24:41.952" v="158" actId="1076"/>
          <ac:spMkLst>
            <pc:docMk/>
            <pc:sldMk cId="4173160200" sldId="299"/>
            <ac:spMk id="13" creationId="{8DAF2778-C707-41B6-8979-5DCBE558D347}"/>
          </ac:spMkLst>
        </pc:spChg>
        <pc:spChg chg="add mod">
          <ac:chgData name="Fuentes Araya, Cristóbal Francisco" userId="S::cfuentesa@achs.cl::0e9e05e2-f2a9-4d96-a1bf-f516d16b267a" providerId="AD" clId="Web-{32D71360-BD96-2FB5-48D6-C771B114B80B}" dt="2020-07-15T17:10:09.575" v="132" actId="1076"/>
          <ac:spMkLst>
            <pc:docMk/>
            <pc:sldMk cId="4173160200" sldId="299"/>
            <ac:spMk id="15" creationId="{9209BA80-9B94-41A7-A7F8-7473F91CCFE7}"/>
          </ac:spMkLst>
        </pc:spChg>
        <pc:spChg chg="add mod">
          <ac:chgData name="Fuentes Araya, Cristóbal Francisco" userId="S::cfuentesa@achs.cl::0e9e05e2-f2a9-4d96-a1bf-f516d16b267a" providerId="AD" clId="Web-{32D71360-BD96-2FB5-48D6-C771B114B80B}" dt="2020-07-15T17:35:09.722" v="214" actId="20577"/>
          <ac:spMkLst>
            <pc:docMk/>
            <pc:sldMk cId="4173160200" sldId="299"/>
            <ac:spMk id="18" creationId="{539A7F8B-E0FB-41A8-BA73-ABA299638F73}"/>
          </ac:spMkLst>
        </pc:spChg>
        <pc:picChg chg="add del mod">
          <ac:chgData name="Fuentes Araya, Cristóbal Francisco" userId="S::cfuentesa@achs.cl::0e9e05e2-f2a9-4d96-a1bf-f516d16b267a" providerId="AD" clId="Web-{32D71360-BD96-2FB5-48D6-C771B114B80B}" dt="2020-07-15T17:19:24.856" v="139"/>
          <ac:picMkLst>
            <pc:docMk/>
            <pc:sldMk cId="4173160200" sldId="299"/>
            <ac:picMk id="6" creationId="{3AB02851-70E0-4942-9933-A1C152C1C8E8}"/>
          </ac:picMkLst>
        </pc:picChg>
        <pc:picChg chg="del">
          <ac:chgData name="Fuentes Araya, Cristóbal Francisco" userId="S::cfuentesa@achs.cl::0e9e05e2-f2a9-4d96-a1bf-f516d16b267a" providerId="AD" clId="Web-{32D71360-BD96-2FB5-48D6-C771B114B80B}" dt="2020-07-15T17:00:32.730" v="9"/>
          <ac:picMkLst>
            <pc:docMk/>
            <pc:sldMk cId="4173160200" sldId="299"/>
            <ac:picMk id="7" creationId="{DB697A0D-115A-4BF4-B0B5-62C99DBF3D6F}"/>
          </ac:picMkLst>
        </pc:picChg>
        <pc:picChg chg="add del mod">
          <ac:chgData name="Fuentes Araya, Cristóbal Francisco" userId="S::cfuentesa@achs.cl::0e9e05e2-f2a9-4d96-a1bf-f516d16b267a" providerId="AD" clId="Web-{32D71360-BD96-2FB5-48D6-C771B114B80B}" dt="2020-07-15T17:24:15.325" v="151"/>
          <ac:picMkLst>
            <pc:docMk/>
            <pc:sldMk cId="4173160200" sldId="299"/>
            <ac:picMk id="16" creationId="{0182164B-F3A6-44B3-905E-4CA41E19F0B7}"/>
          </ac:picMkLst>
        </pc:picChg>
        <pc:picChg chg="add mod">
          <ac:chgData name="Fuentes Araya, Cristóbal Francisco" userId="S::cfuentesa@achs.cl::0e9e05e2-f2a9-4d96-a1bf-f516d16b267a" providerId="AD" clId="Web-{32D71360-BD96-2FB5-48D6-C771B114B80B}" dt="2020-07-15T17:24:41.983" v="159" actId="1076"/>
          <ac:picMkLst>
            <pc:docMk/>
            <pc:sldMk cId="4173160200" sldId="299"/>
            <ac:picMk id="17" creationId="{9302D788-D7A0-45E2-8CCA-6463CFD3F369}"/>
          </ac:picMkLst>
        </pc:picChg>
      </pc:sldChg>
      <pc:sldChg chg="add del replId">
        <pc:chgData name="Fuentes Araya, Cristóbal Francisco" userId="S::cfuentesa@achs.cl::0e9e05e2-f2a9-4d96-a1bf-f516d16b267a" providerId="AD" clId="Web-{32D71360-BD96-2FB5-48D6-C771B114B80B}" dt="2020-07-15T17:20:48.017" v="146"/>
        <pc:sldMkLst>
          <pc:docMk/>
          <pc:sldMk cId="1503496016" sldId="300"/>
        </pc:sldMkLst>
      </pc:sldChg>
    </pc:docChg>
  </pc:docChgLst>
  <pc:docChgLst>
    <pc:chgData name="Canales Gaete, Valentina Isabel" userId="S::vcanalesg@achs.cl::b46261c7-888a-46b5-8eb2-997fd92a94d2" providerId="AD" clId="Web-{3D395B79-5B53-B760-E40D-D0A07438A122}"/>
    <pc:docChg chg="modSld">
      <pc:chgData name="Canales Gaete, Valentina Isabel" userId="S::vcanalesg@achs.cl::b46261c7-888a-46b5-8eb2-997fd92a94d2" providerId="AD" clId="Web-{3D395B79-5B53-B760-E40D-D0A07438A122}" dt="2020-07-15T17:39:20.321" v="48"/>
      <pc:docMkLst>
        <pc:docMk/>
      </pc:docMkLst>
      <pc:sldChg chg="addSp delSp modSp">
        <pc:chgData name="Canales Gaete, Valentina Isabel" userId="S::vcanalesg@achs.cl::b46261c7-888a-46b5-8eb2-997fd92a94d2" providerId="AD" clId="Web-{3D395B79-5B53-B760-E40D-D0A07438A122}" dt="2020-07-15T17:39:20.321" v="48"/>
        <pc:sldMkLst>
          <pc:docMk/>
          <pc:sldMk cId="2539737705" sldId="274"/>
        </pc:sldMkLst>
        <pc:spChg chg="mod">
          <ac:chgData name="Canales Gaete, Valentina Isabel" userId="S::vcanalesg@achs.cl::b46261c7-888a-46b5-8eb2-997fd92a94d2" providerId="AD" clId="Web-{3D395B79-5B53-B760-E40D-D0A07438A122}" dt="2020-07-15T17:37:02.579" v="11" actId="1076"/>
          <ac:spMkLst>
            <pc:docMk/>
            <pc:sldMk cId="2539737705" sldId="274"/>
            <ac:spMk id="7" creationId="{00000000-0000-0000-0000-000000000000}"/>
          </ac:spMkLst>
        </pc:spChg>
        <pc:graphicFrameChg chg="add mod modGraphic">
          <ac:chgData name="Canales Gaete, Valentina Isabel" userId="S::vcanalesg@achs.cl::b46261c7-888a-46b5-8eb2-997fd92a94d2" providerId="AD" clId="Web-{3D395B79-5B53-B760-E40D-D0A07438A122}" dt="2020-07-15T17:39:20.321" v="48"/>
          <ac:graphicFrameMkLst>
            <pc:docMk/>
            <pc:sldMk cId="2539737705" sldId="274"/>
            <ac:graphicFrameMk id="10" creationId="{A0A9E559-CCAC-43FA-8B01-2CCE3BCD090C}"/>
          </ac:graphicFrameMkLst>
        </pc:graphicFrameChg>
        <pc:picChg chg="add mod">
          <ac:chgData name="Canales Gaete, Valentina Isabel" userId="S::vcanalesg@achs.cl::b46261c7-888a-46b5-8eb2-997fd92a94d2" providerId="AD" clId="Web-{3D395B79-5B53-B760-E40D-D0A07438A122}" dt="2020-07-15T17:34:53.119" v="6" actId="14100"/>
          <ac:picMkLst>
            <pc:docMk/>
            <pc:sldMk cId="2539737705" sldId="274"/>
            <ac:picMk id="8" creationId="{4A6C3E28-4CC0-41A4-96D1-DE9C0B0A5A9B}"/>
          </ac:picMkLst>
        </pc:picChg>
        <pc:picChg chg="del">
          <ac:chgData name="Canales Gaete, Valentina Isabel" userId="S::vcanalesg@achs.cl::b46261c7-888a-46b5-8eb2-997fd92a94d2" providerId="AD" clId="Web-{3D395B79-5B53-B760-E40D-D0A07438A122}" dt="2020-07-15T17:33:54.553" v="1"/>
          <ac:picMkLst>
            <pc:docMk/>
            <pc:sldMk cId="2539737705" sldId="274"/>
            <ac:picMk id="9" creationId="{00000000-0000-0000-0000-000000000000}"/>
          </ac:picMkLst>
        </pc:picChg>
      </pc:sldChg>
    </pc:docChg>
  </pc:docChgLst>
  <pc:docChgLst>
    <pc:chgData name="Fuentes Araya, Cristóbal Francisco" userId="S::cfuentesa@achs.cl::0e9e05e2-f2a9-4d96-a1bf-f516d16b267a" providerId="AD" clId="Web-{41C405B8-5062-10F6-CAA2-94B44308ACA3}"/>
    <pc:docChg chg="addSld delSld modSld">
      <pc:chgData name="Fuentes Araya, Cristóbal Francisco" userId="S::cfuentesa@achs.cl::0e9e05e2-f2a9-4d96-a1bf-f516d16b267a" providerId="AD" clId="Web-{41C405B8-5062-10F6-CAA2-94B44308ACA3}" dt="2020-07-14T18:00:10.300" v="1201" actId="20577"/>
      <pc:docMkLst>
        <pc:docMk/>
      </pc:docMkLst>
      <pc:sldChg chg="addSp delSp modSp del">
        <pc:chgData name="Fuentes Araya, Cristóbal Francisco" userId="S::cfuentesa@achs.cl::0e9e05e2-f2a9-4d96-a1bf-f516d16b267a" providerId="AD" clId="Web-{41C405B8-5062-10F6-CAA2-94B44308ACA3}" dt="2020-07-14T15:07:47.346" v="919"/>
        <pc:sldMkLst>
          <pc:docMk/>
          <pc:sldMk cId="841501288" sldId="260"/>
        </pc:sldMkLst>
        <pc:spChg chg="mod">
          <ac:chgData name="Fuentes Araya, Cristóbal Francisco" userId="S::cfuentesa@achs.cl::0e9e05e2-f2a9-4d96-a1bf-f516d16b267a" providerId="AD" clId="Web-{41C405B8-5062-10F6-CAA2-94B44308ACA3}" dt="2020-07-14T15:02:01.078" v="799" actId="14100"/>
          <ac:spMkLst>
            <pc:docMk/>
            <pc:sldMk cId="841501288" sldId="260"/>
            <ac:spMk id="3" creationId="{889CC835-BC98-48D8-9F1C-949042B571D8}"/>
          </ac:spMkLst>
        </pc:spChg>
        <pc:picChg chg="add del mod">
          <ac:chgData name="Fuentes Araya, Cristóbal Francisco" userId="S::cfuentesa@achs.cl::0e9e05e2-f2a9-4d96-a1bf-f516d16b267a" providerId="AD" clId="Web-{41C405B8-5062-10F6-CAA2-94B44308ACA3}" dt="2020-07-14T13:53:35.438" v="16"/>
          <ac:picMkLst>
            <pc:docMk/>
            <pc:sldMk cId="841501288" sldId="260"/>
            <ac:picMk id="4" creationId="{9E9F7896-E3E5-4202-AA7A-18F2FD1B8188}"/>
          </ac:picMkLst>
        </pc:picChg>
        <pc:picChg chg="add del mod modCrop">
          <ac:chgData name="Fuentes Araya, Cristóbal Francisco" userId="S::cfuentesa@achs.cl::0e9e05e2-f2a9-4d96-a1bf-f516d16b267a" providerId="AD" clId="Web-{41C405B8-5062-10F6-CAA2-94B44308ACA3}" dt="2020-07-14T14:58:34.529" v="763"/>
          <ac:picMkLst>
            <pc:docMk/>
            <pc:sldMk cId="841501288" sldId="260"/>
            <ac:picMk id="6" creationId="{E4E510CE-F47F-4A23-A7F9-24F1A897FD86}"/>
          </ac:picMkLst>
        </pc:picChg>
        <pc:picChg chg="add del mod">
          <ac:chgData name="Fuentes Araya, Cristóbal Francisco" userId="S::cfuentesa@achs.cl::0e9e05e2-f2a9-4d96-a1bf-f516d16b267a" providerId="AD" clId="Web-{41C405B8-5062-10F6-CAA2-94B44308ACA3}" dt="2020-07-14T14:58:20.279" v="755"/>
          <ac:picMkLst>
            <pc:docMk/>
            <pc:sldMk cId="841501288" sldId="260"/>
            <ac:picMk id="7" creationId="{8E6371C0-1ED6-4D8F-BEDE-290C97E56419}"/>
          </ac:picMkLst>
        </pc:picChg>
        <pc:picChg chg="add del mod">
          <ac:chgData name="Fuentes Araya, Cristóbal Francisco" userId="S::cfuentesa@achs.cl::0e9e05e2-f2a9-4d96-a1bf-f516d16b267a" providerId="AD" clId="Web-{41C405B8-5062-10F6-CAA2-94B44308ACA3}" dt="2020-07-14T14:59:01.061" v="770"/>
          <ac:picMkLst>
            <pc:docMk/>
            <pc:sldMk cId="841501288" sldId="260"/>
            <ac:picMk id="8" creationId="{08690B61-8C91-466B-BA39-8E01DDADC6C4}"/>
          </ac:picMkLst>
        </pc:picChg>
        <pc:picChg chg="add del mod">
          <ac:chgData name="Fuentes Araya, Cristóbal Francisco" userId="S::cfuentesa@achs.cl::0e9e05e2-f2a9-4d96-a1bf-f516d16b267a" providerId="AD" clId="Web-{41C405B8-5062-10F6-CAA2-94B44308ACA3}" dt="2020-07-14T14:59:29.983" v="778"/>
          <ac:picMkLst>
            <pc:docMk/>
            <pc:sldMk cId="841501288" sldId="260"/>
            <ac:picMk id="9" creationId="{4141F705-71AC-4FC1-9EDC-BCE13BA00FB3}"/>
          </ac:picMkLst>
        </pc:picChg>
        <pc:picChg chg="add mod">
          <ac:chgData name="Fuentes Araya, Cristóbal Francisco" userId="S::cfuentesa@achs.cl::0e9e05e2-f2a9-4d96-a1bf-f516d16b267a" providerId="AD" clId="Web-{41C405B8-5062-10F6-CAA2-94B44308ACA3}" dt="2020-07-14T15:01:57.031" v="798" actId="1076"/>
          <ac:picMkLst>
            <pc:docMk/>
            <pc:sldMk cId="841501288" sldId="260"/>
            <ac:picMk id="12" creationId="{B2F359A3-857C-4191-8469-35C49963D3D4}"/>
          </ac:picMkLst>
        </pc:picChg>
        <pc:picChg chg="add del mod">
          <ac:chgData name="Fuentes Araya, Cristóbal Francisco" userId="S::cfuentesa@achs.cl::0e9e05e2-f2a9-4d96-a1bf-f516d16b267a" providerId="AD" clId="Web-{41C405B8-5062-10F6-CAA2-94B44308ACA3}" dt="2020-07-14T15:01:44.437" v="797"/>
          <ac:picMkLst>
            <pc:docMk/>
            <pc:sldMk cId="841501288" sldId="260"/>
            <ac:picMk id="13" creationId="{F043550F-743B-4AFC-8FE4-38994545C1BE}"/>
          </ac:picMkLst>
        </pc:picChg>
      </pc:sldChg>
      <pc:sldChg chg="modSp">
        <pc:chgData name="Fuentes Araya, Cristóbal Francisco" userId="S::cfuentesa@achs.cl::0e9e05e2-f2a9-4d96-a1bf-f516d16b267a" providerId="AD" clId="Web-{41C405B8-5062-10F6-CAA2-94B44308ACA3}" dt="2020-07-14T15:09:50.035" v="932" actId="20577"/>
        <pc:sldMkLst>
          <pc:docMk/>
          <pc:sldMk cId="2709228062" sldId="270"/>
        </pc:sldMkLst>
        <pc:spChg chg="mod">
          <ac:chgData name="Fuentes Araya, Cristóbal Francisco" userId="S::cfuentesa@achs.cl::0e9e05e2-f2a9-4d96-a1bf-f516d16b267a" providerId="AD" clId="Web-{41C405B8-5062-10F6-CAA2-94B44308ACA3}" dt="2020-07-14T15:09:50.035" v="932" actId="20577"/>
          <ac:spMkLst>
            <pc:docMk/>
            <pc:sldMk cId="2709228062" sldId="270"/>
            <ac:spMk id="2" creationId="{45404F8F-AE27-4069-80D8-CDEC2BCE7B1A}"/>
          </ac:spMkLst>
        </pc:spChg>
        <pc:spChg chg="mod">
          <ac:chgData name="Fuentes Araya, Cristóbal Francisco" userId="S::cfuentesa@achs.cl::0e9e05e2-f2a9-4d96-a1bf-f516d16b267a" providerId="AD" clId="Web-{41C405B8-5062-10F6-CAA2-94B44308ACA3}" dt="2020-07-14T14:26:19.343" v="418" actId="20577"/>
          <ac:spMkLst>
            <pc:docMk/>
            <pc:sldMk cId="2709228062" sldId="270"/>
            <ac:spMk id="7" creationId="{0EA39555-11C5-48FC-9A63-01D6DBDE5D84}"/>
          </ac:spMkLst>
        </pc:spChg>
        <pc:spChg chg="mod">
          <ac:chgData name="Fuentes Araya, Cristóbal Francisco" userId="S::cfuentesa@achs.cl::0e9e05e2-f2a9-4d96-a1bf-f516d16b267a" providerId="AD" clId="Web-{41C405B8-5062-10F6-CAA2-94B44308ACA3}" dt="2020-07-14T14:00:56.925" v="17" actId="1076"/>
          <ac:spMkLst>
            <pc:docMk/>
            <pc:sldMk cId="2709228062" sldId="270"/>
            <ac:spMk id="8" creationId="{00000000-0000-0000-0000-000000000000}"/>
          </ac:spMkLst>
        </pc:spChg>
        <pc:spChg chg="mod">
          <ac:chgData name="Fuentes Araya, Cristóbal Francisco" userId="S::cfuentesa@achs.cl::0e9e05e2-f2a9-4d96-a1bf-f516d16b267a" providerId="AD" clId="Web-{41C405B8-5062-10F6-CAA2-94B44308ACA3}" dt="2020-07-14T14:24:20.717" v="412" actId="20577"/>
          <ac:spMkLst>
            <pc:docMk/>
            <pc:sldMk cId="2709228062" sldId="270"/>
            <ac:spMk id="9" creationId="{00000000-0000-0000-0000-000000000000}"/>
          </ac:spMkLst>
        </pc:spChg>
        <pc:spChg chg="mod">
          <ac:chgData name="Fuentes Araya, Cristóbal Francisco" userId="S::cfuentesa@achs.cl::0e9e05e2-f2a9-4d96-a1bf-f516d16b267a" providerId="AD" clId="Web-{41C405B8-5062-10F6-CAA2-94B44308ACA3}" dt="2020-07-14T14:21:17.950" v="392" actId="20577"/>
          <ac:spMkLst>
            <pc:docMk/>
            <pc:sldMk cId="2709228062" sldId="270"/>
            <ac:spMk id="12" creationId="{C09ADD00-D224-49D0-AFE8-9B804E3963D0}"/>
          </ac:spMkLst>
        </pc:spChg>
      </pc:sldChg>
      <pc:sldChg chg="modSp">
        <pc:chgData name="Fuentes Araya, Cristóbal Francisco" userId="S::cfuentesa@achs.cl::0e9e05e2-f2a9-4d96-a1bf-f516d16b267a" providerId="AD" clId="Web-{41C405B8-5062-10F6-CAA2-94B44308ACA3}" dt="2020-07-14T14:27:20.062" v="436" actId="20577"/>
        <pc:sldMkLst>
          <pc:docMk/>
          <pc:sldMk cId="2584740091" sldId="271"/>
        </pc:sldMkLst>
        <pc:spChg chg="mod">
          <ac:chgData name="Fuentes Araya, Cristóbal Francisco" userId="S::cfuentesa@achs.cl::0e9e05e2-f2a9-4d96-a1bf-f516d16b267a" providerId="AD" clId="Web-{41C405B8-5062-10F6-CAA2-94B44308ACA3}" dt="2020-07-14T14:27:20.062" v="436" actId="20577"/>
          <ac:spMkLst>
            <pc:docMk/>
            <pc:sldMk cId="2584740091" sldId="271"/>
            <ac:spMk id="7" creationId="{00000000-0000-0000-0000-000000000000}"/>
          </ac:spMkLst>
        </pc:spChg>
      </pc:sldChg>
      <pc:sldChg chg="del">
        <pc:chgData name="Fuentes Araya, Cristóbal Francisco" userId="S::cfuentesa@achs.cl::0e9e05e2-f2a9-4d96-a1bf-f516d16b267a" providerId="AD" clId="Web-{41C405B8-5062-10F6-CAA2-94B44308ACA3}" dt="2020-07-14T15:22:29.275" v="944"/>
        <pc:sldMkLst>
          <pc:docMk/>
          <pc:sldMk cId="2909142447" sldId="280"/>
        </pc:sldMkLst>
      </pc:sldChg>
      <pc:sldChg chg="addSp delSp modSp">
        <pc:chgData name="Fuentes Araya, Cristóbal Francisco" userId="S::cfuentesa@achs.cl::0e9e05e2-f2a9-4d96-a1bf-f516d16b267a" providerId="AD" clId="Web-{41C405B8-5062-10F6-CAA2-94B44308ACA3}" dt="2020-07-14T18:00:08.613" v="1199" actId="20577"/>
        <pc:sldMkLst>
          <pc:docMk/>
          <pc:sldMk cId="1914114345" sldId="283"/>
        </pc:sldMkLst>
        <pc:spChg chg="add del mod">
          <ac:chgData name="Fuentes Araya, Cristóbal Francisco" userId="S::cfuentesa@achs.cl::0e9e05e2-f2a9-4d96-a1bf-f516d16b267a" providerId="AD" clId="Web-{41C405B8-5062-10F6-CAA2-94B44308ACA3}" dt="2020-07-14T16:04:56.394" v="1059"/>
          <ac:spMkLst>
            <pc:docMk/>
            <pc:sldMk cId="1914114345" sldId="283"/>
            <ac:spMk id="5" creationId="{E75A0708-6CC9-4B0B-B574-3F6FBC63DD67}"/>
          </ac:spMkLst>
        </pc:spChg>
        <pc:spChg chg="add mod">
          <ac:chgData name="Fuentes Araya, Cristóbal Francisco" userId="S::cfuentesa@achs.cl::0e9e05e2-f2a9-4d96-a1bf-f516d16b267a" providerId="AD" clId="Web-{41C405B8-5062-10F6-CAA2-94B44308ACA3}" dt="2020-07-14T16:13:45.007" v="1183" actId="1076"/>
          <ac:spMkLst>
            <pc:docMk/>
            <pc:sldMk cId="1914114345" sldId="283"/>
            <ac:spMk id="7" creationId="{7DBFA9C2-C0FE-428F-9855-72E123A3386A}"/>
          </ac:spMkLst>
        </pc:spChg>
        <pc:spChg chg="add del mod">
          <ac:chgData name="Fuentes Araya, Cristóbal Francisco" userId="S::cfuentesa@achs.cl::0e9e05e2-f2a9-4d96-a1bf-f516d16b267a" providerId="AD" clId="Web-{41C405B8-5062-10F6-CAA2-94B44308ACA3}" dt="2020-07-14T16:05:59.614" v="1074"/>
          <ac:spMkLst>
            <pc:docMk/>
            <pc:sldMk cId="1914114345" sldId="283"/>
            <ac:spMk id="9" creationId="{BCFA6648-3F88-4D1C-BDF6-A55083425D78}"/>
          </ac:spMkLst>
        </pc:spChg>
        <pc:spChg chg="add del mod">
          <ac:chgData name="Fuentes Araya, Cristóbal Francisco" userId="S::cfuentesa@achs.cl::0e9e05e2-f2a9-4d96-a1bf-f516d16b267a" providerId="AD" clId="Web-{41C405B8-5062-10F6-CAA2-94B44308ACA3}" dt="2020-07-14T16:05:38.769" v="1069"/>
          <ac:spMkLst>
            <pc:docMk/>
            <pc:sldMk cId="1914114345" sldId="283"/>
            <ac:spMk id="11" creationId="{0DEA7E30-7920-45DF-A2A6-F5D847AE78B4}"/>
          </ac:spMkLst>
        </pc:spChg>
        <pc:spChg chg="add mod ord">
          <ac:chgData name="Fuentes Araya, Cristóbal Francisco" userId="S::cfuentesa@achs.cl::0e9e05e2-f2a9-4d96-a1bf-f516d16b267a" providerId="AD" clId="Web-{41C405B8-5062-10F6-CAA2-94B44308ACA3}" dt="2020-07-14T16:06:52.020" v="1118" actId="1076"/>
          <ac:spMkLst>
            <pc:docMk/>
            <pc:sldMk cId="1914114345" sldId="283"/>
            <ac:spMk id="12" creationId="{BB4BD252-07C8-411A-8721-EA1F2D03C189}"/>
          </ac:spMkLst>
        </pc:spChg>
        <pc:spChg chg="add mod">
          <ac:chgData name="Fuentes Araya, Cristóbal Francisco" userId="S::cfuentesa@achs.cl::0e9e05e2-f2a9-4d96-a1bf-f516d16b267a" providerId="AD" clId="Web-{41C405B8-5062-10F6-CAA2-94B44308ACA3}" dt="2020-07-14T16:22:15.963" v="1191" actId="20577"/>
          <ac:spMkLst>
            <pc:docMk/>
            <pc:sldMk cId="1914114345" sldId="283"/>
            <ac:spMk id="13" creationId="{3F0DA6EB-4437-495B-9522-0AAB8D81E247}"/>
          </ac:spMkLst>
        </pc:spChg>
        <pc:spChg chg="add del">
          <ac:chgData name="Fuentes Araya, Cristóbal Francisco" userId="S::cfuentesa@achs.cl::0e9e05e2-f2a9-4d96-a1bf-f516d16b267a" providerId="AD" clId="Web-{41C405B8-5062-10F6-CAA2-94B44308ACA3}" dt="2020-07-14T16:06:53.114" v="1119"/>
          <ac:spMkLst>
            <pc:docMk/>
            <pc:sldMk cId="1914114345" sldId="283"/>
            <ac:spMk id="14" creationId="{9A6E3053-A32B-4479-82DD-0799026491FA}"/>
          </ac:spMkLst>
        </pc:spChg>
        <pc:spChg chg="add del mod">
          <ac:chgData name="Fuentes Araya, Cristóbal Francisco" userId="S::cfuentesa@achs.cl::0e9e05e2-f2a9-4d96-a1bf-f516d16b267a" providerId="AD" clId="Web-{41C405B8-5062-10F6-CAA2-94B44308ACA3}" dt="2020-07-14T16:07:21.661" v="1143"/>
          <ac:spMkLst>
            <pc:docMk/>
            <pc:sldMk cId="1914114345" sldId="283"/>
            <ac:spMk id="15" creationId="{87049841-40A0-45A4-B4C0-9FD460EE36E9}"/>
          </ac:spMkLst>
        </pc:spChg>
        <pc:spChg chg="add mod">
          <ac:chgData name="Fuentes Araya, Cristóbal Francisco" userId="S::cfuentesa@achs.cl::0e9e05e2-f2a9-4d96-a1bf-f516d16b267a" providerId="AD" clId="Web-{41C405B8-5062-10F6-CAA2-94B44308ACA3}" dt="2020-07-14T18:00:08.613" v="1199" actId="20577"/>
          <ac:spMkLst>
            <pc:docMk/>
            <pc:sldMk cId="1914114345" sldId="283"/>
            <ac:spMk id="16" creationId="{1806B1FA-BA78-4FAF-9476-232585FA0231}"/>
          </ac:spMkLst>
        </pc:spChg>
        <pc:picChg chg="mod modCrop">
          <ac:chgData name="Fuentes Araya, Cristóbal Francisco" userId="S::cfuentesa@achs.cl::0e9e05e2-f2a9-4d96-a1bf-f516d16b267a" providerId="AD" clId="Web-{41C405B8-5062-10F6-CAA2-94B44308ACA3}" dt="2020-07-14T16:14:08.429" v="1187"/>
          <ac:picMkLst>
            <pc:docMk/>
            <pc:sldMk cId="1914114345" sldId="283"/>
            <ac:picMk id="6" creationId="{BAED4526-BB13-4BC6-B334-E685AFE53A2B}"/>
          </ac:picMkLst>
        </pc:picChg>
        <pc:picChg chg="add mod">
          <ac:chgData name="Fuentes Araya, Cristóbal Francisco" userId="S::cfuentesa@achs.cl::0e9e05e2-f2a9-4d96-a1bf-f516d16b267a" providerId="AD" clId="Web-{41C405B8-5062-10F6-CAA2-94B44308ACA3}" dt="2020-07-14T16:14:35.538" v="1188" actId="1076"/>
          <ac:picMkLst>
            <pc:docMk/>
            <pc:sldMk cId="1914114345" sldId="283"/>
            <ac:picMk id="8" creationId="{8676526F-3222-4740-ABFB-047B3FA7A66C}"/>
          </ac:picMkLst>
        </pc:picChg>
        <pc:picChg chg="add mod">
          <ac:chgData name="Fuentes Araya, Cristóbal Francisco" userId="S::cfuentesa@achs.cl::0e9e05e2-f2a9-4d96-a1bf-f516d16b267a" providerId="AD" clId="Web-{41C405B8-5062-10F6-CAA2-94B44308ACA3}" dt="2020-07-14T16:14:35.538" v="1189" actId="1076"/>
          <ac:picMkLst>
            <pc:docMk/>
            <pc:sldMk cId="1914114345" sldId="283"/>
            <ac:picMk id="10" creationId="{20E19F32-0F59-4E85-9912-CDB067661AB6}"/>
          </ac:picMkLst>
        </pc:picChg>
      </pc:sldChg>
      <pc:sldChg chg="addSp delSp modSp add replId">
        <pc:chgData name="Fuentes Araya, Cristóbal Francisco" userId="S::cfuentesa@achs.cl::0e9e05e2-f2a9-4d96-a1bf-f516d16b267a" providerId="AD" clId="Web-{41C405B8-5062-10F6-CAA2-94B44308ACA3}" dt="2020-07-14T15:07:44.924" v="918" actId="1076"/>
        <pc:sldMkLst>
          <pc:docMk/>
          <pc:sldMk cId="4049561130" sldId="292"/>
        </pc:sldMkLst>
        <pc:spChg chg="del">
          <ac:chgData name="Fuentes Araya, Cristóbal Francisco" userId="S::cfuentesa@achs.cl::0e9e05e2-f2a9-4d96-a1bf-f516d16b267a" providerId="AD" clId="Web-{41C405B8-5062-10F6-CAA2-94B44308ACA3}" dt="2020-07-14T15:02:35.891" v="801"/>
          <ac:spMkLst>
            <pc:docMk/>
            <pc:sldMk cId="4049561130" sldId="292"/>
            <ac:spMk id="3" creationId="{889CC835-BC98-48D8-9F1C-949042B571D8}"/>
          </ac:spMkLst>
        </pc:spChg>
        <pc:spChg chg="add mod">
          <ac:chgData name="Fuentes Araya, Cristóbal Francisco" userId="S::cfuentesa@achs.cl::0e9e05e2-f2a9-4d96-a1bf-f516d16b267a" providerId="AD" clId="Web-{41C405B8-5062-10F6-CAA2-94B44308ACA3}" dt="2020-07-14T15:07:28.580" v="916" actId="20577"/>
          <ac:spMkLst>
            <pc:docMk/>
            <pc:sldMk cId="4049561130" sldId="292"/>
            <ac:spMk id="4" creationId="{6BBD57EC-49BF-406C-AC07-1ED312A7ABDD}"/>
          </ac:spMkLst>
        </pc:spChg>
        <pc:spChg chg="add mod">
          <ac:chgData name="Fuentes Araya, Cristóbal Francisco" userId="S::cfuentesa@achs.cl::0e9e05e2-f2a9-4d96-a1bf-f516d16b267a" providerId="AD" clId="Web-{41C405B8-5062-10F6-CAA2-94B44308ACA3}" dt="2020-07-14T15:07:04.705" v="915" actId="20577"/>
          <ac:spMkLst>
            <pc:docMk/>
            <pc:sldMk cId="4049561130" sldId="292"/>
            <ac:spMk id="9" creationId="{BEA20C6A-5423-4FC5-9C83-7B868AF5792A}"/>
          </ac:spMkLst>
        </pc:spChg>
        <pc:spChg chg="add mod">
          <ac:chgData name="Fuentes Araya, Cristóbal Francisco" userId="S::cfuentesa@achs.cl::0e9e05e2-f2a9-4d96-a1bf-f516d16b267a" providerId="AD" clId="Web-{41C405B8-5062-10F6-CAA2-94B44308ACA3}" dt="2020-07-14T15:05:26.017" v="842" actId="20577"/>
          <ac:spMkLst>
            <pc:docMk/>
            <pc:sldMk cId="4049561130" sldId="292"/>
            <ac:spMk id="13" creationId="{3524555C-6C66-441E-AAD9-E0434A96BEEC}"/>
          </ac:spMkLst>
        </pc:spChg>
        <pc:picChg chg="mod">
          <ac:chgData name="Fuentes Araya, Cristóbal Francisco" userId="S::cfuentesa@achs.cl::0e9e05e2-f2a9-4d96-a1bf-f516d16b267a" providerId="AD" clId="Web-{41C405B8-5062-10F6-CAA2-94B44308ACA3}" dt="2020-07-14T15:07:44.924" v="918" actId="1076"/>
          <ac:picMkLst>
            <pc:docMk/>
            <pc:sldMk cId="4049561130" sldId="292"/>
            <ac:picMk id="12" creationId="{B2F359A3-857C-4191-8469-35C49963D3D4}"/>
          </ac:picMkLst>
        </pc:picChg>
      </pc:sldChg>
      <pc:sldChg chg="addSp delSp modSp add replId">
        <pc:chgData name="Fuentes Araya, Cristóbal Francisco" userId="S::cfuentesa@achs.cl::0e9e05e2-f2a9-4d96-a1bf-f516d16b267a" providerId="AD" clId="Web-{41C405B8-5062-10F6-CAA2-94B44308ACA3}" dt="2020-07-14T15:53:38.547" v="949" actId="1076"/>
        <pc:sldMkLst>
          <pc:docMk/>
          <pc:sldMk cId="2896270308" sldId="293"/>
        </pc:sldMkLst>
        <pc:picChg chg="add mod">
          <ac:chgData name="Fuentes Araya, Cristóbal Francisco" userId="S::cfuentesa@achs.cl::0e9e05e2-f2a9-4d96-a1bf-f516d16b267a" providerId="AD" clId="Web-{41C405B8-5062-10F6-CAA2-94B44308ACA3}" dt="2020-07-14T15:53:38.547" v="949" actId="1076"/>
          <ac:picMkLst>
            <pc:docMk/>
            <pc:sldMk cId="2896270308" sldId="293"/>
            <ac:picMk id="7" creationId="{0DD10756-A995-4118-BC00-DF2D08F4CB4E}"/>
          </ac:picMkLst>
        </pc:picChg>
        <pc:picChg chg="del">
          <ac:chgData name="Fuentes Araya, Cristóbal Francisco" userId="S::cfuentesa@achs.cl::0e9e05e2-f2a9-4d96-a1bf-f516d16b267a" providerId="AD" clId="Web-{41C405B8-5062-10F6-CAA2-94B44308ACA3}" dt="2020-07-14T15:11:51.051" v="936"/>
          <ac:picMkLst>
            <pc:docMk/>
            <pc:sldMk cId="2896270308" sldId="293"/>
            <ac:picMk id="7" creationId="{C1675EDF-003E-4509-9F2C-96E088311AA2}"/>
          </ac:picMkLst>
        </pc:picChg>
        <pc:picChg chg="add del mod">
          <ac:chgData name="Fuentes Araya, Cristóbal Francisco" userId="S::cfuentesa@achs.cl::0e9e05e2-f2a9-4d96-a1bf-f516d16b267a" providerId="AD" clId="Web-{41C405B8-5062-10F6-CAA2-94B44308ACA3}" dt="2020-07-14T15:53:31.500" v="945"/>
          <ac:picMkLst>
            <pc:docMk/>
            <pc:sldMk cId="2896270308" sldId="293"/>
            <ac:picMk id="8" creationId="{20CCD1C0-ABB1-4F7D-9FAC-9C9DBD7C9B8E}"/>
          </ac:picMkLst>
        </pc:picChg>
      </pc:sldChg>
    </pc:docChg>
  </pc:docChgLst>
  <pc:docChgLst>
    <pc:chgData name="Fuentes Araya, Cristóbal Francisco" userId="S::cfuentesa@achs.cl::0e9e05e2-f2a9-4d96-a1bf-f516d16b267a" providerId="AD" clId="Web-{4EC420D3-8934-73B7-A8FA-1CD80388DB04}"/>
    <pc:docChg chg="modSld">
      <pc:chgData name="Fuentes Araya, Cristóbal Francisco" userId="S::cfuentesa@achs.cl::0e9e05e2-f2a9-4d96-a1bf-f516d16b267a" providerId="AD" clId="Web-{4EC420D3-8934-73B7-A8FA-1CD80388DB04}" dt="2020-07-14T21:32:50.225" v="1" actId="14100"/>
      <pc:docMkLst>
        <pc:docMk/>
      </pc:docMkLst>
      <pc:sldChg chg="modSp">
        <pc:chgData name="Fuentes Araya, Cristóbal Francisco" userId="S::cfuentesa@achs.cl::0e9e05e2-f2a9-4d96-a1bf-f516d16b267a" providerId="AD" clId="Web-{4EC420D3-8934-73B7-A8FA-1CD80388DB04}" dt="2020-07-14T21:32:50.225" v="1" actId="14100"/>
        <pc:sldMkLst>
          <pc:docMk/>
          <pc:sldMk cId="2584740091" sldId="271"/>
        </pc:sldMkLst>
        <pc:spChg chg="mod">
          <ac:chgData name="Fuentes Araya, Cristóbal Francisco" userId="S::cfuentesa@achs.cl::0e9e05e2-f2a9-4d96-a1bf-f516d16b267a" providerId="AD" clId="Web-{4EC420D3-8934-73B7-A8FA-1CD80388DB04}" dt="2020-07-14T21:32:50.225" v="1" actId="14100"/>
          <ac:spMkLst>
            <pc:docMk/>
            <pc:sldMk cId="2584740091" sldId="271"/>
            <ac:spMk id="10" creationId="{3EFCD460-1EEE-4526-BB42-FAC0D7BDE204}"/>
          </ac:spMkLst>
        </pc:spChg>
      </pc:sldChg>
    </pc:docChg>
  </pc:docChgLst>
  <pc:docChgLst>
    <pc:chgData name="González Castillo, Camila Jesús" userId="S::cjgonzalezc@achs.cl::31736765-2b00-4d5d-9d65-70370390067e" providerId="AD" clId="Web-{350B5C41-ABF9-0AD5-F310-E6828101DB6D}"/>
    <pc:docChg chg="modSld">
      <pc:chgData name="González Castillo, Camila Jesús" userId="S::cjgonzalezc@achs.cl::31736765-2b00-4d5d-9d65-70370390067e" providerId="AD" clId="Web-{350B5C41-ABF9-0AD5-F310-E6828101DB6D}" dt="2020-07-15T17:46:09.144" v="8"/>
      <pc:docMkLst>
        <pc:docMk/>
      </pc:docMkLst>
      <pc:sldChg chg="modSp">
        <pc:chgData name="González Castillo, Camila Jesús" userId="S::cjgonzalezc@achs.cl::31736765-2b00-4d5d-9d65-70370390067e" providerId="AD" clId="Web-{350B5C41-ABF9-0AD5-F310-E6828101DB6D}" dt="2020-07-15T17:46:09.144" v="8"/>
        <pc:sldMkLst>
          <pc:docMk/>
          <pc:sldMk cId="4173160200" sldId="299"/>
        </pc:sldMkLst>
        <pc:spChg chg="mod">
          <ac:chgData name="González Castillo, Camila Jesús" userId="S::cjgonzalezc@achs.cl::31736765-2b00-4d5d-9d65-70370390067e" providerId="AD" clId="Web-{350B5C41-ABF9-0AD5-F310-E6828101DB6D}" dt="2020-07-15T17:45:49.895" v="1"/>
          <ac:spMkLst>
            <pc:docMk/>
            <pc:sldMk cId="4173160200" sldId="299"/>
            <ac:spMk id="10" creationId="{35AB8D15-E8C1-4019-ACBF-8A1661A19944}"/>
          </ac:spMkLst>
        </pc:spChg>
        <pc:spChg chg="mod">
          <ac:chgData name="González Castillo, Camila Jesús" userId="S::cjgonzalezc@achs.cl::31736765-2b00-4d5d-9d65-70370390067e" providerId="AD" clId="Web-{350B5C41-ABF9-0AD5-F310-E6828101DB6D}" dt="2020-07-15T17:45:51.582" v="2"/>
          <ac:spMkLst>
            <pc:docMk/>
            <pc:sldMk cId="4173160200" sldId="299"/>
            <ac:spMk id="11" creationId="{9B7EFA96-A62A-4002-8690-A5934162CDEA}"/>
          </ac:spMkLst>
        </pc:spChg>
        <pc:spChg chg="mod">
          <ac:chgData name="González Castillo, Camila Jesús" userId="S::cjgonzalezc@achs.cl::31736765-2b00-4d5d-9d65-70370390067e" providerId="AD" clId="Web-{350B5C41-ABF9-0AD5-F310-E6828101DB6D}" dt="2020-07-15T17:46:09.144" v="8"/>
          <ac:spMkLst>
            <pc:docMk/>
            <pc:sldMk cId="4173160200" sldId="299"/>
            <ac:spMk id="13" creationId="{8DAF2778-C707-41B6-8979-5DCBE558D347}"/>
          </ac:spMkLst>
        </pc:spChg>
        <pc:spChg chg="mod">
          <ac:chgData name="González Castillo, Camila Jesús" userId="S::cjgonzalezc@achs.cl::31736765-2b00-4d5d-9d65-70370390067e" providerId="AD" clId="Web-{350B5C41-ABF9-0AD5-F310-E6828101DB6D}" dt="2020-07-15T17:46:06.660" v="6" actId="20577"/>
          <ac:spMkLst>
            <pc:docMk/>
            <pc:sldMk cId="4173160200" sldId="299"/>
            <ac:spMk id="15" creationId="{9209BA80-9B94-41A7-A7F8-7473F91CCFE7}"/>
          </ac:spMkLst>
        </pc:spChg>
        <pc:spChg chg="mod">
          <ac:chgData name="González Castillo, Camila Jesús" userId="S::cjgonzalezc@achs.cl::31736765-2b00-4d5d-9d65-70370390067e" providerId="AD" clId="Web-{350B5C41-ABF9-0AD5-F310-E6828101DB6D}" dt="2020-07-15T17:45:48.129" v="0"/>
          <ac:spMkLst>
            <pc:docMk/>
            <pc:sldMk cId="4173160200" sldId="299"/>
            <ac:spMk id="18" creationId="{539A7F8B-E0FB-41A8-BA73-ABA299638F73}"/>
          </ac:spMkLst>
        </pc:spChg>
      </pc:sldChg>
    </pc:docChg>
  </pc:docChgLst>
  <pc:docChgLst>
    <pc:chgData name="Fuentes Araya, Cristóbal Francisco" userId="S::cfuentesa@achs.cl::0e9e05e2-f2a9-4d96-a1bf-f516d16b267a" providerId="AD" clId="Web-{E811E508-18E6-4CA6-6395-4FA3FFDDF367}"/>
    <pc:docChg chg="delSld modSld">
      <pc:chgData name="Fuentes Araya, Cristóbal Francisco" userId="S::cfuentesa@achs.cl::0e9e05e2-f2a9-4d96-a1bf-f516d16b267a" providerId="AD" clId="Web-{E811E508-18E6-4CA6-6395-4FA3FFDDF367}" dt="2020-07-15T17:53:51.604" v="28" actId="14100"/>
      <pc:docMkLst>
        <pc:docMk/>
      </pc:docMkLst>
      <pc:sldChg chg="modSp">
        <pc:chgData name="Fuentes Araya, Cristóbal Francisco" userId="S::cfuentesa@achs.cl::0e9e05e2-f2a9-4d96-a1bf-f516d16b267a" providerId="AD" clId="Web-{E811E508-18E6-4CA6-6395-4FA3FFDDF367}" dt="2020-07-15T17:50:47.127" v="21"/>
        <pc:sldMkLst>
          <pc:docMk/>
          <pc:sldMk cId="2709228062" sldId="270"/>
        </pc:sldMkLst>
        <pc:spChg chg="mod">
          <ac:chgData name="Fuentes Araya, Cristóbal Francisco" userId="S::cfuentesa@achs.cl::0e9e05e2-f2a9-4d96-a1bf-f516d16b267a" providerId="AD" clId="Web-{E811E508-18E6-4CA6-6395-4FA3FFDDF367}" dt="2020-07-15T17:50:47.127" v="21"/>
          <ac:spMkLst>
            <pc:docMk/>
            <pc:sldMk cId="2709228062" sldId="270"/>
            <ac:spMk id="12" creationId="{C09ADD00-D224-49D0-AFE8-9B804E3963D0}"/>
          </ac:spMkLst>
        </pc:spChg>
      </pc:sldChg>
      <pc:sldChg chg="delSp modSp">
        <pc:chgData name="Fuentes Araya, Cristóbal Francisco" userId="S::cfuentesa@achs.cl::0e9e05e2-f2a9-4d96-a1bf-f516d16b267a" providerId="AD" clId="Web-{E811E508-18E6-4CA6-6395-4FA3FFDDF367}" dt="2020-07-15T17:53:51.604" v="28" actId="14100"/>
        <pc:sldMkLst>
          <pc:docMk/>
          <pc:sldMk cId="2539737705" sldId="274"/>
        </pc:sldMkLst>
        <pc:spChg chg="del">
          <ac:chgData name="Fuentes Araya, Cristóbal Francisco" userId="S::cfuentesa@achs.cl::0e9e05e2-f2a9-4d96-a1bf-f516d16b267a" providerId="AD" clId="Web-{E811E508-18E6-4CA6-6395-4FA3FFDDF367}" dt="2020-07-15T17:53:14.368" v="25"/>
          <ac:spMkLst>
            <pc:docMk/>
            <pc:sldMk cId="2539737705" sldId="274"/>
            <ac:spMk id="7" creationId="{00000000-0000-0000-0000-000000000000}"/>
          </ac:spMkLst>
        </pc:spChg>
        <pc:graphicFrameChg chg="mod">
          <ac:chgData name="Fuentes Araya, Cristóbal Francisco" userId="S::cfuentesa@achs.cl::0e9e05e2-f2a9-4d96-a1bf-f516d16b267a" providerId="AD" clId="Web-{E811E508-18E6-4CA6-6395-4FA3FFDDF367}" dt="2020-07-15T17:53:51.604" v="28" actId="14100"/>
          <ac:graphicFrameMkLst>
            <pc:docMk/>
            <pc:sldMk cId="2539737705" sldId="274"/>
            <ac:graphicFrameMk id="10" creationId="{A0A9E559-CCAC-43FA-8B01-2CCE3BCD090C}"/>
          </ac:graphicFrameMkLst>
        </pc:graphicFrameChg>
      </pc:sldChg>
      <pc:sldChg chg="del">
        <pc:chgData name="Fuentes Araya, Cristóbal Francisco" userId="S::cfuentesa@achs.cl::0e9e05e2-f2a9-4d96-a1bf-f516d16b267a" providerId="AD" clId="Web-{E811E508-18E6-4CA6-6395-4FA3FFDDF367}" dt="2020-07-15T17:49:24.936" v="16"/>
        <pc:sldMkLst>
          <pc:docMk/>
          <pc:sldMk cId="3472388858" sldId="284"/>
        </pc:sldMkLst>
      </pc:sldChg>
      <pc:sldChg chg="modSp">
        <pc:chgData name="Fuentes Araya, Cristóbal Francisco" userId="S::cfuentesa@achs.cl::0e9e05e2-f2a9-4d96-a1bf-f516d16b267a" providerId="AD" clId="Web-{E811E508-18E6-4CA6-6395-4FA3FFDDF367}" dt="2020-07-15T17:48:22.245" v="2" actId="20577"/>
        <pc:sldMkLst>
          <pc:docMk/>
          <pc:sldMk cId="2598736667" sldId="298"/>
        </pc:sldMkLst>
        <pc:graphicFrameChg chg="modGraphic">
          <ac:chgData name="Fuentes Araya, Cristóbal Francisco" userId="S::cfuentesa@achs.cl::0e9e05e2-f2a9-4d96-a1bf-f516d16b267a" providerId="AD" clId="Web-{E811E508-18E6-4CA6-6395-4FA3FFDDF367}" dt="2020-07-15T17:48:22.245" v="2" actId="20577"/>
          <ac:graphicFrameMkLst>
            <pc:docMk/>
            <pc:sldMk cId="2598736667" sldId="298"/>
            <ac:graphicFrameMk id="13" creationId="{9DDFB9E8-8D70-4910-82F3-45BB22A713FC}"/>
          </ac:graphicFrameMkLst>
        </pc:graphicFrameChg>
      </pc:sldChg>
      <pc:sldChg chg="addSp delSp modSp">
        <pc:chgData name="Fuentes Araya, Cristóbal Francisco" userId="S::cfuentesa@achs.cl::0e9e05e2-f2a9-4d96-a1bf-f516d16b267a" providerId="AD" clId="Web-{E811E508-18E6-4CA6-6395-4FA3FFDDF367}" dt="2020-07-15T17:50:28.595" v="20" actId="1076"/>
        <pc:sldMkLst>
          <pc:docMk/>
          <pc:sldMk cId="2123563475" sldId="304"/>
        </pc:sldMkLst>
        <pc:spChg chg="del mod">
          <ac:chgData name="Fuentes Araya, Cristóbal Francisco" userId="S::cfuentesa@achs.cl::0e9e05e2-f2a9-4d96-a1bf-f516d16b267a" providerId="AD" clId="Web-{E811E508-18E6-4CA6-6395-4FA3FFDDF367}" dt="2020-07-15T17:50:22.266" v="18"/>
          <ac:spMkLst>
            <pc:docMk/>
            <pc:sldMk cId="2123563475" sldId="304"/>
            <ac:spMk id="2" creationId="{6AA6F3EC-1CDE-4A8C-8DDA-23724B07CBF2}"/>
          </ac:spMkLst>
        </pc:spChg>
        <pc:spChg chg="add del">
          <ac:chgData name="Fuentes Araya, Cristóbal Francisco" userId="S::cfuentesa@achs.cl::0e9e05e2-f2a9-4d96-a1bf-f516d16b267a" providerId="AD" clId="Web-{E811E508-18E6-4CA6-6395-4FA3FFDDF367}" dt="2020-07-15T17:48:59.653" v="4"/>
          <ac:spMkLst>
            <pc:docMk/>
            <pc:sldMk cId="2123563475" sldId="304"/>
            <ac:spMk id="3" creationId="{92CEE2B6-12CE-4CD7-88A5-92FAD668765E}"/>
          </ac:spMkLst>
        </pc:spChg>
        <pc:spChg chg="add del">
          <ac:chgData name="Fuentes Araya, Cristóbal Francisco" userId="S::cfuentesa@achs.cl::0e9e05e2-f2a9-4d96-a1bf-f516d16b267a" providerId="AD" clId="Web-{E811E508-18E6-4CA6-6395-4FA3FFDDF367}" dt="2020-07-15T17:49:04.716" v="9"/>
          <ac:spMkLst>
            <pc:docMk/>
            <pc:sldMk cId="2123563475" sldId="304"/>
            <ac:spMk id="6" creationId="{C6ED3DA1-DB92-4CD3-9894-D6C9C3CA1F64}"/>
          </ac:spMkLst>
        </pc:spChg>
        <pc:spChg chg="add mod">
          <ac:chgData name="Fuentes Araya, Cristóbal Francisco" userId="S::cfuentesa@achs.cl::0e9e05e2-f2a9-4d96-a1bf-f516d16b267a" providerId="AD" clId="Web-{E811E508-18E6-4CA6-6395-4FA3FFDDF367}" dt="2020-07-15T17:50:28.595" v="20" actId="1076"/>
          <ac:spMkLst>
            <pc:docMk/>
            <pc:sldMk cId="2123563475" sldId="304"/>
            <ac:spMk id="8" creationId="{AF08E051-0251-40B9-A401-A3E3783AC25F}"/>
          </ac:spMkLst>
        </pc:spChg>
        <pc:picChg chg="mod">
          <ac:chgData name="Fuentes Araya, Cristóbal Francisco" userId="S::cfuentesa@achs.cl::0e9e05e2-f2a9-4d96-a1bf-f516d16b267a" providerId="AD" clId="Web-{E811E508-18E6-4CA6-6395-4FA3FFDDF367}" dt="2020-07-15T17:50:23.517" v="19" actId="1076"/>
          <ac:picMkLst>
            <pc:docMk/>
            <pc:sldMk cId="2123563475" sldId="304"/>
            <ac:picMk id="5" creationId="{CFC2E6BD-EB15-498C-ADE4-67A7946DBB4A}"/>
          </ac:picMkLst>
        </pc:picChg>
      </pc:sldChg>
    </pc:docChg>
  </pc:docChgLst>
  <pc:docChgLst>
    <pc:chgData name="González Castillo, Camila Jesús" userId="S::cjgonzalezc@achs.cl::31736765-2b00-4d5d-9d65-70370390067e" providerId="AD" clId="Web-{A4A08954-D024-4755-60F5-385BEBC763E4}"/>
    <pc:docChg chg="addSld delSld">
      <pc:chgData name="González Castillo, Camila Jesús" userId="S::cjgonzalezc@achs.cl::31736765-2b00-4d5d-9d65-70370390067e" providerId="AD" clId="Web-{A4A08954-D024-4755-60F5-385BEBC763E4}" dt="2020-07-15T15:37:55.223" v="1"/>
      <pc:docMkLst>
        <pc:docMk/>
      </pc:docMkLst>
      <pc:sldChg chg="del">
        <pc:chgData name="González Castillo, Camila Jesús" userId="S::cjgonzalezc@achs.cl::31736765-2b00-4d5d-9d65-70370390067e" providerId="AD" clId="Web-{A4A08954-D024-4755-60F5-385BEBC763E4}" dt="2020-07-15T15:37:55.223" v="1"/>
        <pc:sldMkLst>
          <pc:docMk/>
          <pc:sldMk cId="3764904351" sldId="288"/>
        </pc:sldMkLst>
      </pc:sldChg>
      <pc:sldChg chg="add replId">
        <pc:chgData name="González Castillo, Camila Jesús" userId="S::cjgonzalezc@achs.cl::31736765-2b00-4d5d-9d65-70370390067e" providerId="AD" clId="Web-{A4A08954-D024-4755-60F5-385BEBC763E4}" dt="2020-07-15T15:37:53.613" v="0"/>
        <pc:sldMkLst>
          <pc:docMk/>
          <pc:sldMk cId="1129209161" sldId="29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A1E097-1E9B-44E3-95B2-F47F21F9EF45}" type="datetimeFigureOut">
              <a:rPr lang="es-CL" smtClean="0"/>
              <a:t>27-10-2021</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5CA14C-C590-4272-8883-6A16AF610820}" type="slidenum">
              <a:rPr lang="es-CL" smtClean="0"/>
              <a:t>‹Nº›</a:t>
            </a:fld>
            <a:endParaRPr lang="es-CL"/>
          </a:p>
        </p:txBody>
      </p:sp>
    </p:spTree>
    <p:extLst>
      <p:ext uri="{BB962C8B-B14F-4D97-AF65-F5344CB8AC3E}">
        <p14:creationId xmlns:p14="http://schemas.microsoft.com/office/powerpoint/2010/main" val="40641067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s.wikipedia.org/w/index.php?title=N%C3%BAcleo_olfatorio_anterior&amp;action=edit&amp;redlink=1" TargetMode="External"/><Relationship Id="rId3" Type="http://schemas.openxmlformats.org/officeDocument/2006/relationships/hyperlink" Target="https://es.wikipedia.org/wiki/Cerebro" TargetMode="External"/><Relationship Id="rId7" Type="http://schemas.openxmlformats.org/officeDocument/2006/relationships/hyperlink" Target="https://es.wikipedia.org/w/index.php?title=%C3%81rea_septal_lateral&amp;action=edit&amp;redlink=1"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es.wikipedia.org/wiki/Am%C3%ADgdala_cerebral" TargetMode="External"/><Relationship Id="rId5" Type="http://schemas.openxmlformats.org/officeDocument/2006/relationships/hyperlink" Target="https://es.wikipedia.org/wiki/N%C3%BAcleo_accumbens" TargetMode="External"/><Relationship Id="rId10" Type="http://schemas.openxmlformats.org/officeDocument/2006/relationships/hyperlink" Target="https://es.wikipedia.org/wiki/Neoc%C3%B3rtex" TargetMode="External"/><Relationship Id="rId4" Type="http://schemas.openxmlformats.org/officeDocument/2006/relationships/hyperlink" Target="https://es.wikipedia.org/wiki/%C3%81rea_tegmental_ventral" TargetMode="External"/><Relationship Id="rId9" Type="http://schemas.openxmlformats.org/officeDocument/2006/relationships/hyperlink" Target="https://es.wikipedia.org/w/index.php?title=Tub%C3%A9rculo_olfatorio&amp;action=edit&amp;redlink=1"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smtClean="0"/>
              <a:t>objetivo</a:t>
            </a:r>
            <a:endParaRPr lang="es-CL" dirty="0"/>
          </a:p>
        </p:txBody>
      </p:sp>
      <p:sp>
        <p:nvSpPr>
          <p:cNvPr id="4" name="Marcador de número de diapositiva 3"/>
          <p:cNvSpPr>
            <a:spLocks noGrp="1"/>
          </p:cNvSpPr>
          <p:nvPr>
            <p:ph type="sldNum" sz="quarter" idx="10"/>
          </p:nvPr>
        </p:nvSpPr>
        <p:spPr/>
        <p:txBody>
          <a:bodyPr/>
          <a:lstStyle/>
          <a:p>
            <a:fld id="{DFD661CE-34D4-446C-8C39-EA2F55285E56}" type="slidenum">
              <a:rPr lang="es-CL" smtClean="0">
                <a:solidFill>
                  <a:prstClr val="black"/>
                </a:solidFill>
              </a:rPr>
              <a:pPr/>
              <a:t>1</a:t>
            </a:fld>
            <a:endParaRPr lang="es-CL" dirty="0">
              <a:solidFill>
                <a:prstClr val="black"/>
              </a:solidFill>
            </a:endParaRPr>
          </a:p>
        </p:txBody>
      </p:sp>
    </p:spTree>
    <p:extLst>
      <p:ext uri="{BB962C8B-B14F-4D97-AF65-F5344CB8AC3E}">
        <p14:creationId xmlns:p14="http://schemas.microsoft.com/office/powerpoint/2010/main" val="80276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1418C619-BB37-4A5B-A931-583137E8F05A}" type="slidenum">
              <a:rPr lang="es-CL" smtClean="0"/>
              <a:t>10</a:t>
            </a:fld>
            <a:endParaRPr lang="es-CL" dirty="0"/>
          </a:p>
        </p:txBody>
      </p:sp>
    </p:spTree>
    <p:extLst>
      <p:ext uri="{BB962C8B-B14F-4D97-AF65-F5344CB8AC3E}">
        <p14:creationId xmlns:p14="http://schemas.microsoft.com/office/powerpoint/2010/main" val="1764582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r>
              <a:rPr lang="es-CL" dirty="0" smtClean="0"/>
              <a:t>§Profundos alcances que han tenido </a:t>
            </a:r>
            <a:r>
              <a:rPr lang="es-CL" kern="1200" dirty="0" smtClean="0">
                <a:effectLst/>
              </a:rPr>
              <a:t>las </a:t>
            </a:r>
            <a:r>
              <a:rPr lang="es-CL" dirty="0" smtClean="0"/>
              <a:t>pandemias en la historia</a:t>
            </a:r>
            <a:r>
              <a:rPr lang="es-CL" kern="1200" dirty="0" smtClean="0">
                <a:effectLst/>
              </a:rPr>
              <a:t>, </a:t>
            </a:r>
            <a:r>
              <a:rPr lang="es-CL" dirty="0" smtClean="0"/>
              <a:t>tanto para diezmar poblaciones</a:t>
            </a:r>
            <a:r>
              <a:rPr lang="es-CL" kern="1200" dirty="0" smtClean="0">
                <a:effectLst/>
              </a:rPr>
              <a:t>, </a:t>
            </a:r>
            <a:r>
              <a:rPr lang="es-CL" dirty="0" smtClean="0"/>
              <a:t>como para reconfigurar sociedades completas. </a:t>
            </a:r>
            <a:endParaRPr lang="en-US" dirty="0" smtClean="0"/>
          </a:p>
          <a:p>
            <a:pPr algn="just"/>
            <a:r>
              <a:rPr lang="es-CL" dirty="0" smtClean="0"/>
              <a:t>§Transversales </a:t>
            </a:r>
            <a:r>
              <a:rPr lang="es-CL" kern="1200" dirty="0" smtClean="0">
                <a:effectLst/>
              </a:rPr>
              <a:t>y </a:t>
            </a:r>
            <a:r>
              <a:rPr lang="es-CL" dirty="0" smtClean="0"/>
              <a:t>profundos cambios en el estilo de vida de todo el planeta.</a:t>
            </a:r>
          </a:p>
          <a:p>
            <a:pPr algn="just"/>
            <a:r>
              <a:rPr lang="es-ES" sz="1200" b="1" kern="1200" dirty="0" smtClean="0">
                <a:solidFill>
                  <a:schemeClr val="tx1"/>
                </a:solidFill>
                <a:effectLst/>
                <a:latin typeface="+mn-lt"/>
                <a:ea typeface="+mn-ea"/>
                <a:cs typeface="+mn-cs"/>
              </a:rPr>
              <a:t>El brote de COVID-19 está afectando gravemente la salud mental en todo el mundo, aunque la respuesta individual puede variar. Sus datos indican que una tasa relevante de individuos puede haber experimentado angustia psicológica después del brote de COVID-19. El estrés es una forma de adaptarnos al entorno, pero cuando el estrés se sostiene en el tiempo o es muy intenso el estrés pasa a ser excesivo, las respuestas de las personas ya no son las mismas (empiezan a tener otras experiencias como irritabilidad, emociones negativas) y finamente si eso es más intenso y más prolongado la persona puede tener un estrés toxico, que es un estrés que daña</a:t>
            </a:r>
            <a:endParaRPr lang="es-CL" b="1" dirty="0" smtClean="0"/>
          </a:p>
          <a:p>
            <a:pPr algn="just"/>
            <a:r>
              <a:rPr lang="es-CL" dirty="0" smtClean="0"/>
              <a:t>§Estrategias para mitigar efectos negativos en salud mental.</a:t>
            </a:r>
          </a:p>
          <a:p>
            <a:pPr algn="just"/>
            <a:r>
              <a:rPr lang="es-CL" b="1" dirty="0" smtClean="0"/>
              <a:t>§El impacto de la pandemia es heterogéneo. </a:t>
            </a:r>
          </a:p>
          <a:p>
            <a:pPr algn="just"/>
            <a:r>
              <a:rPr lang="es-CL" dirty="0" smtClean="0"/>
              <a:t>§</a:t>
            </a:r>
            <a:r>
              <a:rPr lang="es-CL" b="1" dirty="0" smtClean="0"/>
              <a:t>Estrés moderado: las personas ponemos nuestro potencial al servicio de la resolución de los problemas.</a:t>
            </a:r>
          </a:p>
          <a:p>
            <a:pPr algn="just"/>
            <a:r>
              <a:rPr lang="es-CL" b="1" dirty="0" smtClean="0"/>
              <a:t>§Estrés muy intenso o sostenido: agotamiento, comienzan a aparecer emociones negativas.</a:t>
            </a:r>
          </a:p>
          <a:p>
            <a:pPr algn="just"/>
            <a:r>
              <a:rPr lang="es-CL" b="1" dirty="0" smtClean="0"/>
              <a:t>§Estrés tóxico: quiebre emocional</a:t>
            </a:r>
          </a:p>
          <a:p>
            <a:pPr algn="just"/>
            <a:r>
              <a:rPr lang="es-CL" dirty="0" smtClean="0"/>
              <a:t>§Factores estresantes: </a:t>
            </a:r>
          </a:p>
          <a:p>
            <a:pPr algn="just"/>
            <a:r>
              <a:rPr lang="es-CL" dirty="0" smtClean="0"/>
              <a:t>§Mayor duración de la cuarentena</a:t>
            </a:r>
          </a:p>
          <a:p>
            <a:pPr algn="just"/>
            <a:r>
              <a:rPr lang="es-CL" dirty="0" smtClean="0"/>
              <a:t>§Temores de infección </a:t>
            </a:r>
          </a:p>
          <a:p>
            <a:pPr algn="just"/>
            <a:r>
              <a:rPr lang="es-CL" dirty="0" smtClean="0"/>
              <a:t>§Frustración</a:t>
            </a:r>
          </a:p>
          <a:p>
            <a:pPr algn="just"/>
            <a:r>
              <a:rPr lang="es-CL" dirty="0" smtClean="0"/>
              <a:t>§Aburrimiento</a:t>
            </a:r>
          </a:p>
          <a:p>
            <a:pPr algn="just"/>
            <a:r>
              <a:rPr lang="es-CL" dirty="0" smtClean="0"/>
              <a:t>§Suministros inadecuados</a:t>
            </a:r>
          </a:p>
          <a:p>
            <a:pPr algn="just"/>
            <a:r>
              <a:rPr lang="es-CL" dirty="0" smtClean="0"/>
              <a:t>§Información inadecuada</a:t>
            </a:r>
          </a:p>
          <a:p>
            <a:pPr algn="just"/>
            <a:r>
              <a:rPr lang="es-CL" dirty="0" smtClean="0"/>
              <a:t>§Pérdidas financieras</a:t>
            </a:r>
          </a:p>
          <a:p>
            <a:pPr algn="just"/>
            <a:r>
              <a:rPr lang="es-CL" dirty="0" smtClean="0"/>
              <a:t>§Estigma </a:t>
            </a:r>
          </a:p>
          <a:p>
            <a:pPr algn="just"/>
            <a:r>
              <a:rPr lang="es-CL" dirty="0" smtClean="0"/>
              <a:t>§Buenas prácticas:</a:t>
            </a:r>
          </a:p>
          <a:p>
            <a:pPr algn="just"/>
            <a:r>
              <a:rPr lang="es-CL" dirty="0" smtClean="0"/>
              <a:t>§Comunicación efectiva y rápida </a:t>
            </a:r>
          </a:p>
          <a:p>
            <a:pPr algn="just"/>
            <a:r>
              <a:rPr lang="es-CL" dirty="0" smtClean="0"/>
              <a:t>§Se deben proporcionar suministros </a:t>
            </a:r>
          </a:p>
          <a:p>
            <a:pPr algn="just"/>
            <a:r>
              <a:rPr lang="es-CL" dirty="0" smtClean="0"/>
              <a:t>§El período de cuarentena debe ser corto y la duración no debe cambiarse, salvo en circunstancias extremas</a:t>
            </a:r>
          </a:p>
          <a:p>
            <a:pPr algn="just"/>
            <a:r>
              <a:rPr lang="es-CL" dirty="0" smtClean="0"/>
              <a:t>§Se debe enfatizar la elección altruista de autoaislamiento</a:t>
            </a:r>
          </a:p>
          <a:p>
            <a:pPr algn="just"/>
            <a:endParaRPr lang="es-CL" dirty="0" smtClean="0">
              <a:cs typeface="Calibri"/>
            </a:endParaRPr>
          </a:p>
          <a:p>
            <a:pPr marL="0" marR="0" indent="0" algn="l" defTabSz="914400" rtl="0" eaLnBrk="1" fontAlgn="auto" latinLnBrk="0" hangingPunct="1">
              <a:lnSpc>
                <a:spcPct val="100000"/>
              </a:lnSpc>
              <a:spcBef>
                <a:spcPts val="0"/>
              </a:spcBef>
              <a:spcAft>
                <a:spcPts val="0"/>
              </a:spcAft>
              <a:buClrTx/>
              <a:buSzTx/>
              <a:buFontTx/>
              <a:buNone/>
              <a:tabLst/>
              <a:defRPr/>
            </a:pPr>
            <a:r>
              <a:rPr lang="es-CL" b="1" dirty="0" smtClean="0"/>
              <a:t> </a:t>
            </a:r>
            <a:r>
              <a:rPr lang="es-ES" sz="1200" b="1" kern="1200" dirty="0" smtClean="0">
                <a:solidFill>
                  <a:schemeClr val="tx1"/>
                </a:solidFill>
                <a:effectLst/>
                <a:latin typeface="+mn-lt"/>
                <a:ea typeface="+mn-ea"/>
                <a:cs typeface="+mn-cs"/>
              </a:rPr>
              <a:t>Las organizaciones de todos los sectores requieren hoy más que nunca orientación y apoyo en el manejo de las diversas situaciones derivadas de la crisis con sus trabajadores, por lo que este manual entrega guías e información para contribuir a minimizar el impacto negativo en la salud mental de todas las personas, “estamos en crisis y el cómo transitemos por ella hará la diferencia cuando todo esto termine” </a:t>
            </a:r>
            <a:endParaRPr lang="es-CL" sz="1200" b="1" kern="1200" dirty="0" smtClean="0">
              <a:solidFill>
                <a:schemeClr val="tx1"/>
              </a:solidFill>
              <a:effectLst/>
              <a:latin typeface="+mn-lt"/>
              <a:ea typeface="+mn-ea"/>
              <a:cs typeface="+mn-cs"/>
            </a:endParaRPr>
          </a:p>
          <a:p>
            <a:endParaRPr lang="es-CL" b="1" dirty="0" smtClean="0"/>
          </a:p>
          <a:p>
            <a:endParaRPr lang="es-CL" dirty="0" smtClean="0">
              <a:cs typeface="Calibri"/>
            </a:endParaRPr>
          </a:p>
          <a:p>
            <a:endParaRPr lang="es-CL" dirty="0"/>
          </a:p>
        </p:txBody>
      </p:sp>
      <p:sp>
        <p:nvSpPr>
          <p:cNvPr id="4" name="Marcador de número de diapositiva 3"/>
          <p:cNvSpPr>
            <a:spLocks noGrp="1"/>
          </p:cNvSpPr>
          <p:nvPr>
            <p:ph type="sldNum" sz="quarter" idx="10"/>
          </p:nvPr>
        </p:nvSpPr>
        <p:spPr/>
        <p:txBody>
          <a:bodyPr/>
          <a:lstStyle/>
          <a:p>
            <a:fld id="{FDF80E95-6235-414B-A48F-22F6C3CEDC31}" type="slidenum">
              <a:rPr lang="es-CL" smtClean="0">
                <a:solidFill>
                  <a:prstClr val="black"/>
                </a:solidFill>
              </a:rPr>
              <a:pPr/>
              <a:t>2</a:t>
            </a:fld>
            <a:endParaRPr lang="es-CL">
              <a:solidFill>
                <a:prstClr val="black"/>
              </a:solidFill>
            </a:endParaRPr>
          </a:p>
        </p:txBody>
      </p:sp>
    </p:spTree>
    <p:extLst>
      <p:ext uri="{BB962C8B-B14F-4D97-AF65-F5344CB8AC3E}">
        <p14:creationId xmlns:p14="http://schemas.microsoft.com/office/powerpoint/2010/main" val="2604931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a:buChar char="•"/>
            </a:pPr>
            <a:r>
              <a:rPr lang="es-CL" dirty="0" smtClean="0"/>
              <a:t>Liderazgo en las crisis</a:t>
            </a:r>
            <a:r>
              <a:rPr lang="en-US" baseline="0" dirty="0" smtClean="0"/>
              <a:t> y </a:t>
            </a:r>
            <a:r>
              <a:rPr lang="es-CL" dirty="0" smtClean="0"/>
              <a:t>Comunicación en situaciones COVID</a:t>
            </a:r>
          </a:p>
          <a:p>
            <a:pPr marL="171450" indent="-171450">
              <a:buFont typeface="Arial"/>
              <a:buChar char="•"/>
            </a:pPr>
            <a:r>
              <a:rPr lang="en-US" dirty="0" smtClean="0"/>
              <a:t>Variables</a:t>
            </a:r>
            <a:r>
              <a:rPr lang="en-US" baseline="0" dirty="0" smtClean="0"/>
              <a:t> a considerer en el </a:t>
            </a:r>
            <a:r>
              <a:rPr lang="en-US" baseline="0" dirty="0" err="1" smtClean="0"/>
              <a:t>entorno</a:t>
            </a:r>
            <a:r>
              <a:rPr lang="en-US" baseline="0" dirty="0" smtClean="0"/>
              <a:t>: </a:t>
            </a:r>
            <a:r>
              <a:rPr lang="en-US" baseline="0" dirty="0" err="1" smtClean="0"/>
              <a:t>cambios</a:t>
            </a:r>
            <a:r>
              <a:rPr lang="en-US" baseline="0" dirty="0" smtClean="0"/>
              <a:t> en la </a:t>
            </a:r>
            <a:r>
              <a:rPr lang="en-US" baseline="0" dirty="0" err="1" smtClean="0"/>
              <a:t>estructura</a:t>
            </a:r>
            <a:r>
              <a:rPr lang="en-US" baseline="0" dirty="0" smtClean="0"/>
              <a:t> </a:t>
            </a:r>
            <a:endParaRPr lang="en-US" dirty="0" smtClean="0"/>
          </a:p>
          <a:p>
            <a:pPr marL="171450" indent="-171450">
              <a:buFont typeface="Arial"/>
              <a:buChar char="•"/>
            </a:pPr>
            <a:r>
              <a:rPr lang="es-CL" dirty="0" smtClean="0"/>
              <a:t>Estrategias de afrontamiento centrado en los problemas</a:t>
            </a:r>
            <a:endParaRPr lang="en-US" dirty="0" smtClean="0"/>
          </a:p>
          <a:p>
            <a:endParaRPr lang="es-ES" dirty="0" smtClean="0"/>
          </a:p>
          <a:p>
            <a:r>
              <a:rPr lang="es-ES" dirty="0" smtClean="0"/>
              <a:t>Resumen</a:t>
            </a:r>
            <a:endParaRPr lang="es-CL" dirty="0"/>
          </a:p>
        </p:txBody>
      </p:sp>
      <p:sp>
        <p:nvSpPr>
          <p:cNvPr id="4" name="Marcador de número de diapositiva 3"/>
          <p:cNvSpPr>
            <a:spLocks noGrp="1"/>
          </p:cNvSpPr>
          <p:nvPr>
            <p:ph type="sldNum" sz="quarter" idx="10"/>
          </p:nvPr>
        </p:nvSpPr>
        <p:spPr/>
        <p:txBody>
          <a:bodyPr/>
          <a:lstStyle/>
          <a:p>
            <a:fld id="{9E5CA14C-C590-4272-8883-6A16AF610820}" type="slidenum">
              <a:rPr lang="es-CL" smtClean="0"/>
              <a:t>3</a:t>
            </a:fld>
            <a:endParaRPr lang="es-CL"/>
          </a:p>
        </p:txBody>
      </p:sp>
    </p:spTree>
    <p:extLst>
      <p:ext uri="{BB962C8B-B14F-4D97-AF65-F5344CB8AC3E}">
        <p14:creationId xmlns:p14="http://schemas.microsoft.com/office/powerpoint/2010/main" val="403439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a:buChar char="•"/>
            </a:pPr>
            <a:r>
              <a:rPr lang="es-ES" dirty="0" smtClean="0"/>
              <a:t>Pandemia y Salud Mental</a:t>
            </a:r>
            <a:endParaRPr lang="es-CL" dirty="0" smtClean="0"/>
          </a:p>
          <a:p>
            <a:pPr marL="171450" indent="-171450">
              <a:buFont typeface="Arial"/>
              <a:buChar char="•"/>
            </a:pPr>
            <a:r>
              <a:rPr lang="es-CL" dirty="0" smtClean="0"/>
              <a:t>Liderazgo en las crisis</a:t>
            </a:r>
            <a:endParaRPr lang="en-US" dirty="0" smtClean="0"/>
          </a:p>
          <a:p>
            <a:pPr marL="171450" indent="-171450">
              <a:buFont typeface="Arial"/>
              <a:buChar char="•"/>
            </a:pPr>
            <a:r>
              <a:rPr lang="es-CL" dirty="0" smtClean="0"/>
              <a:t>Cambios en la estructura</a:t>
            </a:r>
            <a:endParaRPr lang="en-US" dirty="0" smtClean="0"/>
          </a:p>
          <a:p>
            <a:pPr marL="171450" indent="-171450">
              <a:buFont typeface="Arial"/>
              <a:buChar char="•"/>
            </a:pPr>
            <a:r>
              <a:rPr lang="es-CL" dirty="0" smtClean="0"/>
              <a:t>Comunicación en situaciones COVID</a:t>
            </a:r>
            <a:endParaRPr lang="en-US" dirty="0" smtClean="0"/>
          </a:p>
          <a:p>
            <a:pPr marL="171450" indent="-171450">
              <a:buFont typeface="Arial"/>
              <a:buChar char="•"/>
            </a:pPr>
            <a:r>
              <a:rPr lang="es-CL" dirty="0" smtClean="0"/>
              <a:t>Estrategias de afrontamiento centrado en los problemas</a:t>
            </a:r>
            <a:endParaRPr lang="en-US" dirty="0" smtClean="0"/>
          </a:p>
          <a:p>
            <a:pPr marL="171450" indent="-171450">
              <a:buFont typeface="Arial"/>
              <a:buChar char="•"/>
            </a:pPr>
            <a:r>
              <a:rPr lang="es-CL" dirty="0" smtClean="0"/>
              <a:t>Estrategias de afrontamiento centrado en las emociones</a:t>
            </a:r>
            <a:endParaRPr lang="en-US" dirty="0" smtClean="0"/>
          </a:p>
          <a:p>
            <a:pPr marL="171450" indent="-171450">
              <a:buFont typeface="Arial"/>
              <a:buChar char="•"/>
            </a:pPr>
            <a:r>
              <a:rPr lang="es-CL" dirty="0" smtClean="0"/>
              <a:t>Estrategias de afrontamiento centrado en la evitación</a:t>
            </a:r>
          </a:p>
          <a:p>
            <a:endParaRPr lang="es-CL" dirty="0"/>
          </a:p>
        </p:txBody>
      </p:sp>
      <p:sp>
        <p:nvSpPr>
          <p:cNvPr id="4" name="Marcador de número de diapositiva 3"/>
          <p:cNvSpPr>
            <a:spLocks noGrp="1"/>
          </p:cNvSpPr>
          <p:nvPr>
            <p:ph type="sldNum" sz="quarter" idx="10"/>
          </p:nvPr>
        </p:nvSpPr>
        <p:spPr/>
        <p:txBody>
          <a:bodyPr/>
          <a:lstStyle/>
          <a:p>
            <a:fld id="{9E5CA14C-C590-4272-8883-6A16AF610820}" type="slidenum">
              <a:rPr lang="es-CL" smtClean="0"/>
              <a:t>4</a:t>
            </a:fld>
            <a:endParaRPr lang="es-CL"/>
          </a:p>
        </p:txBody>
      </p:sp>
    </p:spTree>
    <p:extLst>
      <p:ext uri="{BB962C8B-B14F-4D97-AF65-F5344CB8AC3E}">
        <p14:creationId xmlns:p14="http://schemas.microsoft.com/office/powerpoint/2010/main" val="2406884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just" defTabSz="914400" rtl="0" eaLnBrk="1" fontAlgn="auto" latinLnBrk="0" hangingPunct="1">
              <a:lnSpc>
                <a:spcPct val="107000"/>
              </a:lnSpc>
              <a:spcBef>
                <a:spcPts val="0"/>
              </a:spcBef>
              <a:spcAft>
                <a:spcPts val="0"/>
              </a:spcAft>
              <a:buClrTx/>
              <a:buSzTx/>
              <a:buFont typeface="Wingdings,Sans-Serif"/>
              <a:buNone/>
              <a:tabLst/>
              <a:defRPr/>
            </a:pPr>
            <a:r>
              <a:rPr lang="es-ES" sz="1200" kern="1200" dirty="0" smtClean="0">
                <a:solidFill>
                  <a:schemeClr val="tx1"/>
                </a:solidFill>
                <a:effectLst/>
                <a:latin typeface="+mn-lt"/>
                <a:ea typeface="+mn-ea"/>
                <a:cs typeface="+mn-cs"/>
              </a:rPr>
              <a:t>El escenario es dinámico y cambiante, no hay fecha cierta de término por esto, es fundamental generar planificaciones semanales y mensuales para guiar a los equipos, medirlos y realizar modificaciones que faciliten la efectividad y cumplimiento de los objetivos.</a:t>
            </a:r>
            <a:endParaRPr lang="es-CL" sz="1200" kern="1200" dirty="0" smtClean="0">
              <a:solidFill>
                <a:schemeClr val="tx1"/>
              </a:solidFill>
              <a:effectLst/>
              <a:latin typeface="+mn-lt"/>
              <a:ea typeface="+mn-ea"/>
              <a:cs typeface="+mn-cs"/>
            </a:endParaRPr>
          </a:p>
          <a:p>
            <a:pPr marL="0" indent="0" algn="just">
              <a:lnSpc>
                <a:spcPct val="107000"/>
              </a:lnSpc>
              <a:buFont typeface="Wingdings,Sans-Serif"/>
              <a:buNone/>
            </a:pPr>
            <a:r>
              <a:rPr lang="es-ES" sz="1200" kern="1200" dirty="0" smtClean="0">
                <a:solidFill>
                  <a:schemeClr val="tx1"/>
                </a:solidFill>
                <a:effectLst/>
                <a:latin typeface="+mn-lt"/>
                <a:ea typeface="+mn-ea"/>
                <a:cs typeface="+mn-cs"/>
              </a:rPr>
              <a:t>Es clave que el líder se posicione como parte del aprendizaje de esta nueva realidad, promoviendo la </a:t>
            </a:r>
            <a:r>
              <a:rPr lang="es-ES" sz="1200" kern="1200" dirty="0" err="1" smtClean="0">
                <a:solidFill>
                  <a:schemeClr val="tx1"/>
                </a:solidFill>
                <a:effectLst/>
                <a:latin typeface="+mn-lt"/>
                <a:ea typeface="+mn-ea"/>
                <a:cs typeface="+mn-cs"/>
              </a:rPr>
              <a:t>co</a:t>
            </a:r>
            <a:r>
              <a:rPr lang="es-ES" sz="1200" kern="1200" dirty="0" smtClean="0">
                <a:solidFill>
                  <a:schemeClr val="tx1"/>
                </a:solidFill>
                <a:effectLst/>
                <a:latin typeface="+mn-lt"/>
                <a:ea typeface="+mn-ea"/>
                <a:cs typeface="+mn-cs"/>
              </a:rPr>
              <a:t>-construcción y gestión del conocimiento</a:t>
            </a:r>
            <a:r>
              <a:rPr lang="es-CL" sz="1200" b="1" kern="1200" dirty="0" smtClean="0">
                <a:solidFill>
                  <a:schemeClr val="tx1"/>
                </a:solidFill>
                <a:effectLst/>
                <a:latin typeface="+mn-lt"/>
                <a:ea typeface="+mn-ea"/>
                <a:cs typeface="+mn-cs"/>
              </a:rPr>
              <a:t>.</a:t>
            </a:r>
          </a:p>
          <a:p>
            <a:pPr marL="0" indent="0" algn="just">
              <a:lnSpc>
                <a:spcPct val="107000"/>
              </a:lnSpc>
              <a:buFont typeface="Wingdings,Sans-Serif"/>
              <a:buNone/>
            </a:pPr>
            <a:r>
              <a:rPr lang="es-CL" sz="1200" kern="1200" dirty="0" smtClean="0">
                <a:solidFill>
                  <a:schemeClr val="tx1"/>
                </a:solidFill>
                <a:effectLst/>
                <a:latin typeface="+mn-lt"/>
                <a:ea typeface="+mn-ea"/>
                <a:cs typeface="+mn-cs"/>
              </a:rPr>
              <a:t>Esta crisis tiene especial énfasis en el desempeño de los equipos de trabajo, transformándose en un gran desafío para</a:t>
            </a:r>
            <a:r>
              <a:rPr lang="es-CL" sz="1200" kern="1200" baseline="0" dirty="0" smtClean="0">
                <a:solidFill>
                  <a:schemeClr val="tx1"/>
                </a:solidFill>
                <a:effectLst/>
                <a:latin typeface="+mn-lt"/>
                <a:ea typeface="+mn-ea"/>
                <a:cs typeface="+mn-cs"/>
              </a:rPr>
              <a:t> los líderes de las pymes.</a:t>
            </a:r>
          </a:p>
          <a:p>
            <a:pPr marL="0" indent="0" algn="just">
              <a:lnSpc>
                <a:spcPct val="107000"/>
              </a:lnSpc>
              <a:buFont typeface="Wingdings,Sans-Serif"/>
              <a:buNone/>
            </a:pPr>
            <a:r>
              <a:rPr lang="es-CL" sz="1200" kern="1200" dirty="0" smtClean="0">
                <a:solidFill>
                  <a:schemeClr val="tx1"/>
                </a:solidFill>
                <a:effectLst/>
                <a:latin typeface="+mn-lt"/>
                <a:ea typeface="+mn-ea"/>
                <a:cs typeface="+mn-cs"/>
              </a:rPr>
              <a:t>Ante este contexto, es que planteamos </a:t>
            </a:r>
            <a:r>
              <a:rPr lang="es-CL" sz="1200" b="1" kern="1200" dirty="0" smtClean="0">
                <a:solidFill>
                  <a:schemeClr val="tx1"/>
                </a:solidFill>
                <a:effectLst/>
                <a:latin typeface="+mn-lt"/>
                <a:ea typeface="+mn-ea"/>
                <a:cs typeface="+mn-cs"/>
              </a:rPr>
              <a:t>5 prácticas de liderazgo </a:t>
            </a:r>
            <a:r>
              <a:rPr lang="es-CL" sz="1200" kern="1200" dirty="0" smtClean="0">
                <a:solidFill>
                  <a:schemeClr val="tx1"/>
                </a:solidFill>
                <a:effectLst/>
                <a:latin typeface="+mn-lt"/>
                <a:ea typeface="+mn-ea"/>
                <a:cs typeface="+mn-cs"/>
              </a:rPr>
              <a:t>que pueden ayudar a responder de una manera efectiva. </a:t>
            </a:r>
            <a:r>
              <a:rPr lang="es-CL" sz="1200" b="1" kern="1200" dirty="0" smtClean="0">
                <a:solidFill>
                  <a:schemeClr val="tx1"/>
                </a:solidFill>
                <a:effectLst/>
                <a:latin typeface="+mn-lt"/>
                <a:ea typeface="+mn-ea"/>
                <a:cs typeface="+mn-cs"/>
              </a:rPr>
              <a:t>Reconocer que la empresa enfrenta una crisis es lo primero que deben hacer los líderes. Una vez que ellos reconocen una crisis como tal, pueden comenzar a organizar una respuesta</a:t>
            </a:r>
            <a:endParaRPr lang="es-CL" b="1" dirty="0" smtClean="0"/>
          </a:p>
          <a:p>
            <a:pPr marL="342900" indent="-342900" algn="just">
              <a:lnSpc>
                <a:spcPct val="107000"/>
              </a:lnSpc>
              <a:buFont typeface="Wingdings,Sans-Serif"/>
              <a:buChar char=""/>
            </a:pPr>
            <a:endParaRPr lang="es-CL" b="1" dirty="0" smtClean="0"/>
          </a:p>
          <a:p>
            <a:pPr marL="342900" indent="-342900" algn="just">
              <a:lnSpc>
                <a:spcPct val="107000"/>
              </a:lnSpc>
              <a:buFont typeface="Wingdings,Sans-Serif"/>
              <a:buChar char=""/>
            </a:pPr>
            <a:endParaRPr lang="es-CL" b="1" dirty="0" smtClean="0"/>
          </a:p>
          <a:p>
            <a:pPr marL="0" indent="0" algn="just">
              <a:lnSpc>
                <a:spcPct val="107000"/>
              </a:lnSpc>
              <a:buFont typeface="Wingdings,Sans-Serif"/>
              <a:buNone/>
            </a:pPr>
            <a:r>
              <a:rPr lang="es-CL" b="1" dirty="0" smtClean="0"/>
              <a:t>1.-Organizarse para responder a una crisis</a:t>
            </a:r>
          </a:p>
          <a:p>
            <a:pPr marL="0" indent="0" algn="just">
              <a:lnSpc>
                <a:spcPct val="107000"/>
              </a:lnSpc>
              <a:buFont typeface="Wingdings,Sans-Serif"/>
              <a:buNone/>
            </a:pPr>
            <a:r>
              <a:rPr lang="es-CL" sz="1200" b="1" kern="1200" dirty="0" smtClean="0">
                <a:solidFill>
                  <a:schemeClr val="tx1"/>
                </a:solidFill>
                <a:effectLst/>
                <a:latin typeface="+mn-lt"/>
                <a:ea typeface="+mn-ea"/>
                <a:cs typeface="+mn-cs"/>
              </a:rPr>
              <a:t>Los líderes deben fomentar la colaboración y la transparencia </a:t>
            </a:r>
            <a:r>
              <a:rPr lang="es-CL" sz="1200" kern="1200" dirty="0" smtClean="0">
                <a:solidFill>
                  <a:schemeClr val="tx1"/>
                </a:solidFill>
                <a:effectLst/>
                <a:latin typeface="+mn-lt"/>
                <a:ea typeface="+mn-ea"/>
                <a:cs typeface="+mn-cs"/>
              </a:rPr>
              <a:t>en los equipos. Una forma de hacerlo es mediante </a:t>
            </a:r>
            <a:r>
              <a:rPr lang="es-CL" sz="1200" b="1" kern="1200" dirty="0" smtClean="0">
                <a:solidFill>
                  <a:schemeClr val="tx1"/>
                </a:solidFill>
                <a:effectLst/>
                <a:latin typeface="+mn-lt"/>
                <a:ea typeface="+mn-ea"/>
                <a:cs typeface="+mn-cs"/>
              </a:rPr>
              <a:t>la distribución de autoridad y el intercambio de información</a:t>
            </a:r>
            <a:r>
              <a:rPr lang="es-CL" sz="1200" kern="1200" dirty="0" smtClean="0">
                <a:solidFill>
                  <a:schemeClr val="tx1"/>
                </a:solidFill>
                <a:effectLst/>
                <a:latin typeface="+mn-lt"/>
                <a:ea typeface="+mn-ea"/>
                <a:cs typeface="+mn-cs"/>
              </a:rPr>
              <a:t>: (cambiar temporalmente algunas responsabilidades de su jerarquía de comando y control a una red de equipos, ) en otras palabras, demostrando </a:t>
            </a:r>
            <a:r>
              <a:rPr lang="es-CL" sz="1200" b="1" kern="1200" dirty="0" smtClean="0">
                <a:solidFill>
                  <a:schemeClr val="tx1"/>
                </a:solidFill>
                <a:effectLst/>
                <a:latin typeface="+mn-lt"/>
                <a:ea typeface="+mn-ea"/>
                <a:cs typeface="+mn-cs"/>
              </a:rPr>
              <a:t>cómo deben operar los propios equipos en crisis</a:t>
            </a:r>
            <a:r>
              <a:rPr lang="es-CL" sz="1200" b="1" kern="1200" baseline="0" dirty="0" smtClean="0">
                <a:solidFill>
                  <a:schemeClr val="tx1"/>
                </a:solidFill>
                <a:effectLst/>
                <a:latin typeface="+mn-lt"/>
                <a:ea typeface="+mn-ea"/>
                <a:cs typeface="+mn-cs"/>
              </a:rPr>
              <a:t> además debe promover la</a:t>
            </a:r>
            <a:r>
              <a:rPr lang="es-CL" sz="1200" b="1" kern="1200" dirty="0" smtClean="0">
                <a:solidFill>
                  <a:schemeClr val="tx1"/>
                </a:solidFill>
                <a:effectLst/>
                <a:latin typeface="+mn-lt"/>
                <a:ea typeface="+mn-ea"/>
                <a:cs typeface="+mn-cs"/>
              </a:rPr>
              <a:t> seguridad </a:t>
            </a:r>
            <a:r>
              <a:rPr lang="es-CL" sz="1200" kern="1200" dirty="0" smtClean="0">
                <a:solidFill>
                  <a:schemeClr val="tx1"/>
                </a:solidFill>
                <a:effectLst/>
                <a:latin typeface="+mn-lt"/>
                <a:ea typeface="+mn-ea"/>
                <a:cs typeface="+mn-cs"/>
              </a:rPr>
              <a:t>psicológica para que las personas puedan discutir abiertamente ideas, preguntas y preocupaciones sin temor a repercusiones.(en definitiva</a:t>
            </a:r>
            <a:r>
              <a:rPr lang="es-CL" sz="1200" kern="1200" baseline="0" dirty="0" smtClean="0">
                <a:solidFill>
                  <a:schemeClr val="tx1"/>
                </a:solidFill>
                <a:effectLst/>
                <a:latin typeface="+mn-lt"/>
                <a:ea typeface="+mn-ea"/>
                <a:cs typeface="+mn-cs"/>
              </a:rPr>
              <a:t> entregar mayor autonomía)</a:t>
            </a:r>
            <a:endParaRPr lang="es-CL" sz="1200" kern="1200" dirty="0" smtClean="0">
              <a:solidFill>
                <a:schemeClr val="tx1"/>
              </a:solidFill>
              <a:effectLst/>
              <a:latin typeface="+mn-lt"/>
              <a:ea typeface="+mn-ea"/>
              <a:cs typeface="+mn-cs"/>
            </a:endParaRPr>
          </a:p>
          <a:p>
            <a:pPr marL="0" indent="0" algn="just">
              <a:lnSpc>
                <a:spcPct val="107000"/>
              </a:lnSpc>
              <a:buFont typeface="Wingdings,Sans-Serif"/>
              <a:buNone/>
            </a:pPr>
            <a:r>
              <a:rPr lang="es-CL" sz="1200" kern="1200" dirty="0" smtClean="0">
                <a:solidFill>
                  <a:schemeClr val="tx1"/>
                </a:solidFill>
                <a:effectLst/>
                <a:latin typeface="+mn-lt"/>
                <a:ea typeface="+mn-ea"/>
                <a:cs typeface="+mn-cs"/>
              </a:rPr>
              <a:t>Ya que en su mayoría, las organizaciones no contaban con planes para responder a este tipo de emergencias, </a:t>
            </a:r>
            <a:r>
              <a:rPr lang="es-CL" sz="1200" b="1" kern="1200" dirty="0" smtClean="0">
                <a:solidFill>
                  <a:schemeClr val="tx1"/>
                </a:solidFill>
                <a:effectLst/>
                <a:latin typeface="+mn-lt"/>
                <a:ea typeface="+mn-ea"/>
                <a:cs typeface="+mn-cs"/>
              </a:rPr>
              <a:t>la idea es poder planificar, coordinar, distribuir </a:t>
            </a:r>
            <a:r>
              <a:rPr lang="es-CL" sz="1200" kern="1200" dirty="0" smtClean="0">
                <a:solidFill>
                  <a:schemeClr val="tx1"/>
                </a:solidFill>
                <a:effectLst/>
                <a:latin typeface="+mn-lt"/>
                <a:ea typeface="+mn-ea"/>
                <a:cs typeface="+mn-cs"/>
              </a:rPr>
              <a:t>y </a:t>
            </a:r>
            <a:r>
              <a:rPr lang="es-CL" sz="1200" b="1" kern="1200" dirty="0" smtClean="0">
                <a:solidFill>
                  <a:schemeClr val="tx1"/>
                </a:solidFill>
                <a:effectLst/>
                <a:latin typeface="+mn-lt"/>
                <a:ea typeface="+mn-ea"/>
                <a:cs typeface="+mn-cs"/>
              </a:rPr>
              <a:t>designar encargados que velen por el trabajo propiamente tal y otros que se ocupen de las nuevas necesidades que irán surgiendo durante el transcurso </a:t>
            </a:r>
            <a:r>
              <a:rPr lang="es-CL" sz="1200" kern="1200" dirty="0" smtClean="0">
                <a:solidFill>
                  <a:schemeClr val="tx1"/>
                </a:solidFill>
                <a:effectLst/>
                <a:latin typeface="+mn-lt"/>
                <a:ea typeface="+mn-ea"/>
                <a:cs typeface="+mn-cs"/>
              </a:rPr>
              <a:t>de esta pandemia; Reuniones periódicas de equipo, definir canales de comunicación y su correcto uso, encargados de canalizar las necesidades de los trabajadores, entre otros puntos que puedan surgir. Apuntando a generar nuevos procedimientos para enfrentar las crisis como organización.</a:t>
            </a:r>
          </a:p>
          <a:p>
            <a:pPr marL="0" indent="0" algn="just">
              <a:lnSpc>
                <a:spcPct val="107000"/>
              </a:lnSpc>
              <a:buFont typeface="Wingdings,Sans-Serif"/>
              <a:buNone/>
            </a:pPr>
            <a:r>
              <a:rPr lang="es-ES" sz="1200" b="1" kern="1200" dirty="0" smtClean="0">
                <a:solidFill>
                  <a:schemeClr val="tx1"/>
                </a:solidFill>
                <a:effectLst/>
                <a:latin typeface="+mn-lt"/>
                <a:ea typeface="+mn-ea"/>
                <a:cs typeface="+mn-cs"/>
              </a:rPr>
              <a:t>2.El valor  “de calma delibrada” y optimismo limitado</a:t>
            </a:r>
          </a:p>
          <a:p>
            <a:pPr marL="0" indent="0" algn="just">
              <a:lnSpc>
                <a:spcPct val="107000"/>
              </a:lnSpc>
              <a:buFont typeface="Wingdings,Sans-Serif"/>
              <a:buNone/>
            </a:pPr>
            <a:r>
              <a:rPr lang="es-CL" sz="1200" kern="1200" dirty="0" smtClean="0">
                <a:solidFill>
                  <a:schemeClr val="tx1"/>
                </a:solidFill>
                <a:effectLst/>
                <a:latin typeface="+mn-lt"/>
                <a:ea typeface="+mn-ea"/>
                <a:cs typeface="+mn-cs"/>
              </a:rPr>
              <a:t>Los líderes  también deben asegurarse de empoderar a las personas adecuadas para tomar decisiones de respuesta a la crisis en toda la red de equipos, Los líderes de respuesta a crisis deben ser capaces de unificar equipos detrás de un solo propósito y formular preguntas para que puedan decidir.</a:t>
            </a:r>
          </a:p>
          <a:p>
            <a:pPr marL="0" indent="0" algn="just">
              <a:lnSpc>
                <a:spcPct val="107000"/>
              </a:lnSpc>
              <a:buFont typeface="Wingdings,Sans-Serif"/>
              <a:buNone/>
            </a:pPr>
            <a:r>
              <a:rPr lang="es-CL" sz="1200" kern="1200" dirty="0" smtClean="0">
                <a:solidFill>
                  <a:schemeClr val="tx1"/>
                </a:solidFill>
                <a:effectLst/>
                <a:latin typeface="+mn-lt"/>
                <a:ea typeface="+mn-ea"/>
                <a:cs typeface="+mn-cs"/>
              </a:rPr>
              <a:t>la "</a:t>
            </a:r>
            <a:r>
              <a:rPr lang="es-CL" sz="1200" b="1" kern="1200" dirty="0" smtClean="0">
                <a:solidFill>
                  <a:schemeClr val="tx1"/>
                </a:solidFill>
                <a:effectLst/>
                <a:latin typeface="+mn-lt"/>
                <a:ea typeface="+mn-ea"/>
                <a:cs typeface="+mn-cs"/>
              </a:rPr>
              <a:t>calma deliberada</a:t>
            </a:r>
            <a:r>
              <a:rPr lang="es-CL" sz="1200" kern="1200" dirty="0" smtClean="0">
                <a:solidFill>
                  <a:schemeClr val="tx1"/>
                </a:solidFill>
                <a:effectLst/>
                <a:latin typeface="+mn-lt"/>
                <a:ea typeface="+mn-ea"/>
                <a:cs typeface="+mn-cs"/>
              </a:rPr>
              <a:t>", </a:t>
            </a:r>
            <a:r>
              <a:rPr lang="es-CL" sz="1200" b="1" kern="1200" dirty="0" smtClean="0">
                <a:solidFill>
                  <a:schemeClr val="tx1"/>
                </a:solidFill>
                <a:effectLst/>
                <a:latin typeface="+mn-lt"/>
                <a:ea typeface="+mn-ea"/>
                <a:cs typeface="+mn-cs"/>
              </a:rPr>
              <a:t>la capacidad de separarse de una situación cargada de emociones y pensar con claridad sobre cómo se</a:t>
            </a:r>
            <a:r>
              <a:rPr lang="es-CL" sz="1200" b="1" kern="1200" baseline="0" dirty="0" smtClean="0">
                <a:solidFill>
                  <a:schemeClr val="tx1"/>
                </a:solidFill>
                <a:effectLst/>
                <a:latin typeface="+mn-lt"/>
                <a:ea typeface="+mn-ea"/>
                <a:cs typeface="+mn-cs"/>
              </a:rPr>
              <a:t> manejará</a:t>
            </a:r>
            <a:r>
              <a:rPr lang="es-CL" sz="1200" kern="1200" baseline="0" dirty="0" smtClean="0">
                <a:solidFill>
                  <a:schemeClr val="tx1"/>
                </a:solidFill>
                <a:effectLst/>
                <a:latin typeface="+mn-lt"/>
                <a:ea typeface="+mn-ea"/>
                <a:cs typeface="+mn-cs"/>
              </a:rPr>
              <a:t>.</a:t>
            </a:r>
          </a:p>
          <a:p>
            <a:pPr marL="0" marR="0" indent="0" algn="just" defTabSz="914400" rtl="0" eaLnBrk="1" fontAlgn="auto" latinLnBrk="0" hangingPunct="1">
              <a:lnSpc>
                <a:spcPct val="107000"/>
              </a:lnSpc>
              <a:spcBef>
                <a:spcPts val="0"/>
              </a:spcBef>
              <a:spcAft>
                <a:spcPts val="0"/>
              </a:spcAft>
              <a:buClrTx/>
              <a:buSzTx/>
              <a:buFont typeface="Wingdings,Sans-Serif"/>
              <a:buNone/>
              <a:tabLst/>
              <a:defRPr/>
            </a:pPr>
            <a:r>
              <a:rPr lang="es-CL" sz="1200" kern="1200" dirty="0" smtClean="0">
                <a:solidFill>
                  <a:schemeClr val="tx1"/>
                </a:solidFill>
                <a:effectLst/>
                <a:latin typeface="+mn-lt"/>
                <a:ea typeface="+mn-ea"/>
                <a:cs typeface="+mn-cs"/>
              </a:rPr>
              <a:t>Necesitamos contar con líderes informados de la información que se actualiza rápidamente de fuentes confiables, pero que a la vez sean capaces de reconocer cuándo no cuentan con respuestas certeras y comunicar esta realidad, con la propuesta de estar en una constante búsqueda para sus equipos de trabajo. Recordar, que esta comunicación debe ser oportuna y fluida con las personas a cargo. </a:t>
            </a:r>
          </a:p>
          <a:p>
            <a:pPr marL="0" indent="0" algn="just">
              <a:lnSpc>
                <a:spcPct val="107000"/>
              </a:lnSpc>
              <a:buFont typeface="Wingdings,Sans-Serif"/>
              <a:buNone/>
            </a:pPr>
            <a:r>
              <a:rPr lang="es-CL" sz="1200" b="1" kern="1200" dirty="0" smtClean="0">
                <a:solidFill>
                  <a:schemeClr val="tx1"/>
                </a:solidFill>
                <a:effectLst/>
                <a:latin typeface="+mn-lt"/>
                <a:ea typeface="+mn-ea"/>
                <a:cs typeface="+mn-cs"/>
              </a:rPr>
              <a:t>En resumen los líderes deben ir con sus equipos aportando calma con la información, otra cualidad importante es el </a:t>
            </a:r>
            <a:r>
              <a:rPr lang="es-CL" sz="1200" kern="1200" dirty="0" smtClean="0">
                <a:solidFill>
                  <a:schemeClr val="tx1"/>
                </a:solidFill>
                <a:effectLst/>
                <a:latin typeface="+mn-lt"/>
                <a:ea typeface="+mn-ea"/>
                <a:cs typeface="+mn-cs"/>
              </a:rPr>
              <a:t>"</a:t>
            </a:r>
            <a:r>
              <a:rPr lang="es-CL" sz="1200" b="1" kern="1200" dirty="0" smtClean="0">
                <a:solidFill>
                  <a:schemeClr val="tx1"/>
                </a:solidFill>
                <a:effectLst/>
                <a:latin typeface="+mn-lt"/>
                <a:ea typeface="+mn-ea"/>
                <a:cs typeface="+mn-cs"/>
              </a:rPr>
              <a:t>optimismo limitado</a:t>
            </a:r>
            <a:r>
              <a:rPr lang="es-CL" sz="1200" kern="1200" dirty="0" smtClean="0">
                <a:solidFill>
                  <a:schemeClr val="tx1"/>
                </a:solidFill>
                <a:effectLst/>
                <a:latin typeface="+mn-lt"/>
                <a:ea typeface="+mn-ea"/>
                <a:cs typeface="+mn-cs"/>
              </a:rPr>
              <a:t>", o la confianza combinada con el realismo. Al principio de una crisis, si los líderes muestran una confianza excesiva a pesar de las condiciones obviamente difíciles, pueden perder credibilidad. </a:t>
            </a:r>
            <a:r>
              <a:rPr lang="es-CL" sz="1200" b="1" kern="1200" dirty="0" smtClean="0">
                <a:solidFill>
                  <a:schemeClr val="tx1"/>
                </a:solidFill>
                <a:effectLst/>
                <a:latin typeface="+mn-lt"/>
                <a:ea typeface="+mn-ea"/>
                <a:cs typeface="+mn-cs"/>
              </a:rPr>
              <a:t>Es más efectivo para los líderes proyectar la confianza de que la organización encontrará un camino para superar su difícil situació</a:t>
            </a:r>
            <a:r>
              <a:rPr lang="es-CL" sz="1200" kern="1200" dirty="0" smtClean="0">
                <a:solidFill>
                  <a:schemeClr val="tx1"/>
                </a:solidFill>
                <a:effectLst/>
                <a:latin typeface="+mn-lt"/>
                <a:ea typeface="+mn-ea"/>
                <a:cs typeface="+mn-cs"/>
              </a:rPr>
              <a:t>n, pero también mostrar que reconoce la incertidumbre de la crisis y ha comenzado a lidiar con ella recopilando más información.</a:t>
            </a:r>
            <a:endParaRPr lang="es-ES" sz="1200" b="1" kern="1200" dirty="0" smtClean="0">
              <a:solidFill>
                <a:schemeClr val="tx1"/>
              </a:solidFill>
              <a:effectLst/>
              <a:latin typeface="+mn-lt"/>
              <a:ea typeface="+mn-ea"/>
              <a:cs typeface="+mn-cs"/>
            </a:endParaRPr>
          </a:p>
          <a:p>
            <a:pPr marL="0" indent="0" algn="just">
              <a:lnSpc>
                <a:spcPct val="107000"/>
              </a:lnSpc>
              <a:buFont typeface="Wingdings,Sans-Serif"/>
              <a:buNone/>
            </a:pPr>
            <a:endParaRPr lang="es-CL" b="1" dirty="0" smtClean="0"/>
          </a:p>
          <a:p>
            <a:pPr marL="0" indent="0" algn="just">
              <a:lnSpc>
                <a:spcPct val="107000"/>
              </a:lnSpc>
              <a:buNone/>
            </a:pPr>
            <a:r>
              <a:rPr lang="es-CL" b="1" dirty="0" smtClean="0"/>
              <a:t>3. Tomar decisiones en medio de la incertidumbre</a:t>
            </a:r>
          </a:p>
          <a:p>
            <a:pPr marL="0" indent="0" algn="just">
              <a:lnSpc>
                <a:spcPct val="107000"/>
              </a:lnSpc>
              <a:buNone/>
            </a:pPr>
            <a:r>
              <a:rPr lang="es-CL" sz="1200" kern="1200" dirty="0" smtClean="0">
                <a:solidFill>
                  <a:schemeClr val="tx1"/>
                </a:solidFill>
                <a:effectLst/>
                <a:latin typeface="+mn-lt"/>
                <a:ea typeface="+mn-ea"/>
                <a:cs typeface="+mn-cs"/>
              </a:rPr>
              <a:t>Tomar decisiones en medio de la incertidumbre: haga una pausa para evaluar y anticipar, luego actúe. Esperar a que surja un conjunto completo de hechos antes de determinar qué hacer es otro error común que los líderes cometen durante las crisis, Debido a que una crisis involucra muchas incógnitas y sorpresas, es posible que los hechos no se aclaren dentro del tiempo necesario para tomar decisiones.</a:t>
            </a:r>
          </a:p>
          <a:p>
            <a:pPr marL="0" indent="0" algn="just">
              <a:lnSpc>
                <a:spcPct val="107000"/>
              </a:lnSpc>
              <a:buNone/>
            </a:pPr>
            <a:r>
              <a:rPr lang="es-CL" sz="1200" b="1" kern="1200" dirty="0" smtClean="0">
                <a:solidFill>
                  <a:schemeClr val="tx1"/>
                </a:solidFill>
                <a:effectLst/>
                <a:latin typeface="+mn-lt"/>
                <a:ea typeface="+mn-ea"/>
                <a:cs typeface="+mn-cs"/>
              </a:rPr>
              <a:t>al recopilar continuamente información a medida que se desarrolla la crisis y observar qué tan bien funcionan sus respuestas</a:t>
            </a:r>
            <a:r>
              <a:rPr lang="es-CL" sz="1200" kern="1200" dirty="0" smtClean="0">
                <a:solidFill>
                  <a:schemeClr val="tx1"/>
                </a:solidFill>
                <a:effectLst/>
                <a:latin typeface="+mn-lt"/>
                <a:ea typeface="+mn-ea"/>
                <a:cs typeface="+mn-cs"/>
              </a:rPr>
              <a:t>.</a:t>
            </a:r>
          </a:p>
          <a:p>
            <a:pPr marL="0" indent="0" algn="just">
              <a:lnSpc>
                <a:spcPct val="107000"/>
              </a:lnSpc>
              <a:buNone/>
            </a:pPr>
            <a:r>
              <a:rPr lang="es-CL" sz="1200" b="1" kern="1200" dirty="0" smtClean="0">
                <a:solidFill>
                  <a:schemeClr val="tx1"/>
                </a:solidFill>
                <a:effectLst/>
                <a:latin typeface="+mn-lt"/>
                <a:ea typeface="+mn-ea"/>
                <a:cs typeface="+mn-cs"/>
              </a:rPr>
              <a:t>En la práctica, esto significa hacer pausas frecuentes en la gestión de crisis, evaluar la situación desde múltiples puntos de vista, anticipar lo que puede suceder a continuación y luego actuar</a:t>
            </a:r>
            <a:r>
              <a:rPr lang="es-CL" sz="1200" kern="1200" dirty="0" smtClean="0">
                <a:solidFill>
                  <a:schemeClr val="tx1"/>
                </a:solidFill>
                <a:effectLst/>
                <a:latin typeface="+mn-lt"/>
                <a:ea typeface="+mn-ea"/>
                <a:cs typeface="+mn-cs"/>
              </a:rPr>
              <a:t>. El ciclo de pausa-evaluar-anticipar-actuar debería estar en curso, ya que ayuda a los líderes a mantener un estado de calma deliberada y evitar reaccionar exageradamente a la nueva información a medida que se presenta.</a:t>
            </a:r>
          </a:p>
          <a:p>
            <a:pPr marL="0" indent="0" algn="just">
              <a:lnSpc>
                <a:spcPct val="107000"/>
              </a:lnSpc>
              <a:buNone/>
            </a:pPr>
            <a:r>
              <a:rPr lang="es-CL" sz="1200" kern="1200" dirty="0" smtClean="0">
                <a:solidFill>
                  <a:schemeClr val="tx1"/>
                </a:solidFill>
                <a:effectLst/>
                <a:latin typeface="+mn-lt"/>
                <a:ea typeface="+mn-ea"/>
                <a:cs typeface="+mn-cs"/>
              </a:rPr>
              <a:t>Dos comportamientos cognitivos pueden ayudar a los líderes a medida que evalúan y anticipan. Uno, llamado </a:t>
            </a:r>
            <a:r>
              <a:rPr lang="es-CL" sz="1200" b="1" kern="1200" dirty="0" smtClean="0">
                <a:solidFill>
                  <a:schemeClr val="tx1"/>
                </a:solidFill>
                <a:effectLst/>
                <a:latin typeface="+mn-lt"/>
                <a:ea typeface="+mn-ea"/>
                <a:cs typeface="+mn-cs"/>
              </a:rPr>
              <a:t>actualización, </a:t>
            </a:r>
            <a:r>
              <a:rPr lang="es-CL" sz="1200" kern="1200" dirty="0" smtClean="0">
                <a:solidFill>
                  <a:schemeClr val="tx1"/>
                </a:solidFill>
                <a:effectLst/>
                <a:latin typeface="+mn-lt"/>
                <a:ea typeface="+mn-ea"/>
                <a:cs typeface="+mn-cs"/>
              </a:rPr>
              <a:t>implica revisar ideas basadas en la nueva información que los equipos recopilan y el conocimiento que desarrollan. El segundo, </a:t>
            </a:r>
            <a:r>
              <a:rPr lang="es-CL" sz="1200" b="1" kern="1200" dirty="0" smtClean="0">
                <a:solidFill>
                  <a:schemeClr val="tx1"/>
                </a:solidFill>
                <a:effectLst/>
                <a:latin typeface="+mn-lt"/>
                <a:ea typeface="+mn-ea"/>
                <a:cs typeface="+mn-cs"/>
              </a:rPr>
              <a:t>dudar, </a:t>
            </a:r>
            <a:r>
              <a:rPr lang="es-CL" sz="1200" kern="1200" dirty="0" smtClean="0">
                <a:solidFill>
                  <a:schemeClr val="tx1"/>
                </a:solidFill>
                <a:effectLst/>
                <a:latin typeface="+mn-lt"/>
                <a:ea typeface="+mn-ea"/>
                <a:cs typeface="+mn-cs"/>
              </a:rPr>
              <a:t>ayuda a los líderes a considerar críticamente las acciones en curso y potenciales y decidir si deben modificarse, adoptarse o descartarse. </a:t>
            </a:r>
            <a:r>
              <a:rPr lang="es-CL" sz="1200" b="1" kern="1200" dirty="0" smtClean="0">
                <a:solidFill>
                  <a:schemeClr val="tx1"/>
                </a:solidFill>
                <a:effectLst/>
                <a:latin typeface="+mn-lt"/>
                <a:ea typeface="+mn-ea"/>
                <a:cs typeface="+mn-cs"/>
              </a:rPr>
              <a:t>Actualizar y dudar ayuda a los líderes a mediar en sus impulsos de duelo para concebir soluciones basadas en lo que han hecho previamente y para inventar nuevas soluciones sin recurrir a lecciones pasadas</a:t>
            </a:r>
            <a:r>
              <a:rPr lang="es-CL" sz="1200" kern="1200" dirty="0" smtClean="0">
                <a:solidFill>
                  <a:schemeClr val="tx1"/>
                </a:solidFill>
                <a:effectLst/>
                <a:latin typeface="+mn-lt"/>
                <a:ea typeface="+mn-ea"/>
                <a:cs typeface="+mn-cs"/>
              </a:rPr>
              <a:t>.</a:t>
            </a:r>
          </a:p>
          <a:p>
            <a:pPr marL="0" indent="0" algn="just">
              <a:lnSpc>
                <a:spcPct val="107000"/>
              </a:lnSpc>
              <a:buNone/>
            </a:pPr>
            <a:r>
              <a:rPr lang="es-CL" sz="1200" kern="1200" dirty="0" smtClean="0">
                <a:solidFill>
                  <a:schemeClr val="tx1"/>
                </a:solidFill>
                <a:effectLst/>
                <a:latin typeface="+mn-lt"/>
                <a:ea typeface="+mn-ea"/>
                <a:cs typeface="+mn-cs"/>
              </a:rPr>
              <a:t>Una vez que los líderes deciden qué hacer, </a:t>
            </a:r>
            <a:r>
              <a:rPr lang="es-CL" sz="1200" b="1" kern="1200" dirty="0" smtClean="0">
                <a:solidFill>
                  <a:schemeClr val="tx1"/>
                </a:solidFill>
                <a:effectLst/>
                <a:latin typeface="+mn-lt"/>
                <a:ea typeface="+mn-ea"/>
                <a:cs typeface="+mn-cs"/>
              </a:rPr>
              <a:t>deben actuar con determinación</a:t>
            </a:r>
            <a:r>
              <a:rPr lang="es-CL" sz="1200" kern="1200" dirty="0" smtClean="0">
                <a:solidFill>
                  <a:schemeClr val="tx1"/>
                </a:solidFill>
                <a:effectLst/>
                <a:latin typeface="+mn-lt"/>
                <a:ea typeface="+mn-ea"/>
                <a:cs typeface="+mn-cs"/>
              </a:rPr>
              <a:t>. La decisión visible no solo construye la confianza de la organización en los líderes; También </a:t>
            </a:r>
            <a:r>
              <a:rPr lang="es-CL" sz="1200" b="1" kern="1200" dirty="0" smtClean="0">
                <a:solidFill>
                  <a:schemeClr val="tx1"/>
                </a:solidFill>
                <a:effectLst/>
                <a:latin typeface="+mn-lt"/>
                <a:ea typeface="+mn-ea"/>
                <a:cs typeface="+mn-cs"/>
              </a:rPr>
              <a:t>motiva a la red de equipos a mantener su búsqueda de soluciones a los desafíos </a:t>
            </a:r>
            <a:r>
              <a:rPr lang="es-CL" sz="1200" kern="1200" dirty="0" smtClean="0">
                <a:solidFill>
                  <a:schemeClr val="tx1"/>
                </a:solidFill>
                <a:effectLst/>
                <a:latin typeface="+mn-lt"/>
                <a:ea typeface="+mn-ea"/>
                <a:cs typeface="+mn-cs"/>
              </a:rPr>
              <a:t>que enfrenta la organización.</a:t>
            </a:r>
          </a:p>
          <a:p>
            <a:pPr marL="0" indent="0" algn="just">
              <a:lnSpc>
                <a:spcPct val="107000"/>
              </a:lnSpc>
              <a:buNone/>
            </a:pPr>
            <a:r>
              <a:rPr lang="es-CL" sz="1200" kern="1200" dirty="0" smtClean="0">
                <a:solidFill>
                  <a:schemeClr val="tx1"/>
                </a:solidFill>
                <a:effectLst/>
                <a:latin typeface="+mn-lt"/>
                <a:ea typeface="+mn-ea"/>
                <a:cs typeface="+mn-cs"/>
              </a:rPr>
              <a:t>Es relevante agregar además que los líderes cuando se enfrentan a </a:t>
            </a:r>
            <a:r>
              <a:rPr lang="es-CL" sz="1200" b="1" kern="1200" dirty="0" smtClean="0">
                <a:solidFill>
                  <a:schemeClr val="tx1"/>
                </a:solidFill>
                <a:effectLst/>
                <a:latin typeface="+mn-lt"/>
                <a:ea typeface="+mn-ea"/>
                <a:cs typeface="+mn-cs"/>
              </a:rPr>
              <a:t>decisiones complejas, es importante para su salud mental no sentirse solos </a:t>
            </a:r>
            <a:r>
              <a:rPr lang="es-CL" sz="1200" kern="1200" dirty="0" smtClean="0">
                <a:solidFill>
                  <a:schemeClr val="tx1"/>
                </a:solidFill>
                <a:effectLst/>
                <a:latin typeface="+mn-lt"/>
                <a:ea typeface="+mn-ea"/>
                <a:cs typeface="+mn-cs"/>
              </a:rPr>
              <a:t>en estas determinaciones. </a:t>
            </a:r>
            <a:r>
              <a:rPr lang="es-CL" sz="1200" b="1" kern="1200" dirty="0" smtClean="0">
                <a:solidFill>
                  <a:schemeClr val="tx1"/>
                </a:solidFill>
                <a:effectLst/>
                <a:latin typeface="+mn-lt"/>
                <a:ea typeface="+mn-ea"/>
                <a:cs typeface="+mn-cs"/>
              </a:rPr>
              <a:t>Es necesario formar equipos y respaldo para poder decidir </a:t>
            </a:r>
            <a:r>
              <a:rPr lang="es-CL" sz="1200" kern="1200" dirty="0" smtClean="0">
                <a:solidFill>
                  <a:schemeClr val="tx1"/>
                </a:solidFill>
                <a:effectLst/>
                <a:latin typeface="+mn-lt"/>
                <a:ea typeface="+mn-ea"/>
                <a:cs typeface="+mn-cs"/>
              </a:rPr>
              <a:t>en momentos que pueden requerirse prontas determinaciones, con bajos niveles de certeza de que una decisión pueda ser la correcta.</a:t>
            </a:r>
            <a:endParaRPr lang="es-CL" dirty="0" smtClean="0"/>
          </a:p>
          <a:p>
            <a:pPr marL="0" indent="0" algn="just">
              <a:lnSpc>
                <a:spcPct val="107000"/>
              </a:lnSpc>
              <a:buNone/>
            </a:pPr>
            <a:r>
              <a:rPr lang="es-CL" b="1" dirty="0" smtClean="0"/>
              <a:t>4.</a:t>
            </a:r>
            <a:r>
              <a:rPr lang="es-CL" b="1" baseline="0" dirty="0" smtClean="0"/>
              <a:t> </a:t>
            </a:r>
            <a:r>
              <a:rPr lang="es-CL" b="1" dirty="0" smtClean="0"/>
              <a:t>Demostrar empatía: lidiar con la tragedia humana como primera prioridad</a:t>
            </a:r>
          </a:p>
          <a:p>
            <a:pPr marL="0" indent="0" algn="just">
              <a:lnSpc>
                <a:spcPct val="107000"/>
              </a:lnSpc>
              <a:buNone/>
            </a:pPr>
            <a:r>
              <a:rPr lang="es-CL" sz="1200" kern="1200" dirty="0" smtClean="0">
                <a:solidFill>
                  <a:schemeClr val="tx1"/>
                </a:solidFill>
                <a:effectLst/>
                <a:latin typeface="+mn-lt"/>
                <a:ea typeface="+mn-ea"/>
                <a:cs typeface="+mn-cs"/>
              </a:rPr>
              <a:t>Una crisis es cuando es más importante para los líderes mantener un aspecto vital de su rol: hacer una diferencia positiva en la vida de las personas. Hacer esto requiere que los líderes reconozcan los desafíos personales y profesionales que los trabajadores y sus seres queridos experimentan durante una crisis.</a:t>
            </a:r>
          </a:p>
          <a:p>
            <a:r>
              <a:rPr lang="es-CL" sz="1200" b="1" kern="1200" dirty="0" smtClean="0">
                <a:solidFill>
                  <a:schemeClr val="tx1"/>
                </a:solidFill>
                <a:effectLst/>
                <a:latin typeface="+mn-lt"/>
                <a:ea typeface="+mn-ea"/>
                <a:cs typeface="+mn-cs"/>
              </a:rPr>
              <a:t>Como cada crisis afectará a las personas de maneras particulares, Los líderes deben prestar mucha atención a la forma en que las personas están luchando y tomar las medidas correspondientes para apoyarlos</a:t>
            </a:r>
            <a:r>
              <a:rPr lang="es-CL" sz="1200" kern="1200" dirty="0" smtClean="0">
                <a:solidFill>
                  <a:schemeClr val="tx1"/>
                </a:solidFill>
                <a:effectLst/>
                <a:latin typeface="+mn-lt"/>
                <a:ea typeface="+mn-ea"/>
                <a:cs typeface="+mn-cs"/>
              </a:rPr>
              <a:t>. (</a:t>
            </a:r>
            <a:r>
              <a:rPr lang="es-CL" sz="1200" kern="1200" dirty="0" err="1" smtClean="0">
                <a:solidFill>
                  <a:schemeClr val="tx1"/>
                </a:solidFill>
                <a:effectLst/>
                <a:latin typeface="+mn-lt"/>
                <a:ea typeface="+mn-ea"/>
                <a:cs typeface="+mn-cs"/>
              </a:rPr>
              <a:t>D´Auria</a:t>
            </a:r>
            <a:r>
              <a:rPr lang="es-CL" sz="1200" kern="1200" dirty="0" smtClean="0">
                <a:solidFill>
                  <a:schemeClr val="tx1"/>
                </a:solidFill>
                <a:effectLst/>
                <a:latin typeface="+mn-lt"/>
                <a:ea typeface="+mn-ea"/>
                <a:cs typeface="+mn-cs"/>
              </a:rPr>
              <a:t>, 2020)</a:t>
            </a:r>
          </a:p>
          <a:p>
            <a:r>
              <a:rPr lang="es-CL" sz="1200" kern="1200" dirty="0" smtClean="0">
                <a:solidFill>
                  <a:schemeClr val="tx1"/>
                </a:solidFill>
                <a:effectLst/>
                <a:latin typeface="+mn-lt"/>
                <a:ea typeface="+mn-ea"/>
                <a:cs typeface="+mn-cs"/>
              </a:rPr>
              <a:t>Por último, es vital que los líderes no solo demuestren empatía, sino que se abran a la empatía de los demás y se mantengan atentos a su propio bienestar. A medida que el estrés, el cansancio y la incertidumbre se acumulan durante una crisis, los líderes pueden descubrir que sus habilidades para procesar información, mantenerse equilibrados y ejercer buen juicio disminuyen.</a:t>
            </a:r>
          </a:p>
          <a:p>
            <a:r>
              <a:rPr lang="es-ES" sz="1200" b="1" kern="1200" dirty="0" smtClean="0">
                <a:solidFill>
                  <a:schemeClr val="tx1"/>
                </a:solidFill>
                <a:effectLst/>
                <a:latin typeface="+mn-lt"/>
                <a:ea typeface="+mn-ea"/>
                <a:cs typeface="+mn-cs"/>
              </a:rPr>
              <a:t>RECOMENDACIÓN:</a:t>
            </a:r>
            <a:r>
              <a:rPr lang="es-CL" sz="1200" kern="1200" dirty="0" smtClean="0">
                <a:solidFill>
                  <a:schemeClr val="tx1"/>
                </a:solidFill>
                <a:effectLst/>
                <a:latin typeface="+mn-lt"/>
                <a:ea typeface="+mn-ea"/>
                <a:cs typeface="+mn-cs"/>
              </a:rPr>
              <a:t>. Una oportunidad, puede ser mantener instancias de reunión con otros líderes y compartir las experiencias vividas, buenas prácticas así como las dudas y aflicciones que puedan surgir en quienes cumplen el rol de líder</a:t>
            </a:r>
            <a:endParaRPr lang="es-ES" b="1" dirty="0" smtClean="0"/>
          </a:p>
          <a:p>
            <a:pPr marL="0" indent="0" algn="just">
              <a:lnSpc>
                <a:spcPct val="107000"/>
              </a:lnSpc>
              <a:buNone/>
            </a:pPr>
            <a:endParaRPr lang="es-CL" dirty="0" smtClean="0"/>
          </a:p>
          <a:p>
            <a:pPr marL="0" indent="0" algn="just">
              <a:lnSpc>
                <a:spcPct val="107000"/>
              </a:lnSpc>
              <a:buNone/>
            </a:pPr>
            <a:r>
              <a:rPr lang="es-CL" b="1" dirty="0" smtClean="0"/>
              <a:t>5. Comunicación efectiva: mantenga la transparencia y proporcione actualizaciones frecuentes</a:t>
            </a:r>
          </a:p>
          <a:p>
            <a:pPr marL="0" indent="0" algn="just">
              <a:lnSpc>
                <a:spcPct val="107000"/>
              </a:lnSpc>
              <a:buNone/>
            </a:pPr>
            <a:r>
              <a:rPr lang="es-ES" sz="1200" kern="1200" dirty="0" smtClean="0">
                <a:solidFill>
                  <a:schemeClr val="tx1"/>
                </a:solidFill>
                <a:effectLst/>
                <a:latin typeface="+mn-lt"/>
                <a:ea typeface="+mn-ea"/>
                <a:cs typeface="+mn-cs"/>
              </a:rPr>
              <a:t>Es importante recordar que los trabajadores pueden sentirse inseguros respecto a su puesto de trabajo, o con conflictos para expresar sus emociones. Es fundamental entregar espacios de escucha activa, en donde se dejen de lado los prejuicios respecto a las diferentes visiones del conflicto. Se debe tener en cuenta que “El miedo es siempre una experiencia individualmente experimentada, socialmente construida y culturalmente compartida.</a:t>
            </a:r>
          </a:p>
          <a:p>
            <a:pPr marL="0" marR="0" indent="0" algn="just" defTabSz="914400" rtl="0" eaLnBrk="1" fontAlgn="auto" latinLnBrk="0" hangingPunct="1">
              <a:lnSpc>
                <a:spcPct val="107000"/>
              </a:lnSpc>
              <a:spcBef>
                <a:spcPts val="0"/>
              </a:spcBef>
              <a:spcAft>
                <a:spcPts val="0"/>
              </a:spcAft>
              <a:buClrTx/>
              <a:buSzTx/>
              <a:buFontTx/>
              <a:buNone/>
              <a:tabLst/>
              <a:defRPr/>
            </a:pPr>
            <a:r>
              <a:rPr lang="es-ES" sz="1200" kern="1200" dirty="0" smtClean="0">
                <a:solidFill>
                  <a:schemeClr val="tx1"/>
                </a:solidFill>
                <a:effectLst/>
                <a:latin typeface="+mn-lt"/>
                <a:ea typeface="+mn-ea"/>
                <a:cs typeface="+mn-cs"/>
              </a:rPr>
              <a:t>La comunicación </a:t>
            </a:r>
            <a:r>
              <a:rPr lang="es-ES" sz="1200" b="1" kern="1200" dirty="0" smtClean="0">
                <a:solidFill>
                  <a:schemeClr val="tx1"/>
                </a:solidFill>
                <a:effectLst/>
                <a:latin typeface="+mn-lt"/>
                <a:ea typeface="+mn-ea"/>
                <a:cs typeface="+mn-cs"/>
              </a:rPr>
              <a:t>es un ingrediente principal a la hora del trabajo en crisis</a:t>
            </a:r>
            <a:r>
              <a:rPr lang="es-ES" sz="1200" kern="1200" dirty="0" smtClean="0">
                <a:solidFill>
                  <a:schemeClr val="tx1"/>
                </a:solidFill>
                <a:effectLst/>
                <a:latin typeface="+mn-lt"/>
                <a:ea typeface="+mn-ea"/>
                <a:cs typeface="+mn-cs"/>
              </a:rPr>
              <a:t>. se sugiere estar en permanente información con los trabajadores; respecto a los horarios de trabajo, los cambios en turnos, mobiliarios, etc. Asimismo, es importante ser claro en nuevos beneficios que se les entregaran a los trabajadores, y desde cuando hasta cuándo van a regir (por ejemplo, “Dado la situación actual, tendremos horario flexible desde hoy hasta tres días más, cuando volveremos a revisar esta medida”).</a:t>
            </a:r>
            <a:r>
              <a:rPr lang="es-CL" sz="1200" kern="1200" dirty="0" smtClean="0">
                <a:solidFill>
                  <a:schemeClr val="tx1"/>
                </a:solidFill>
                <a:effectLst/>
                <a:latin typeface="+mn-lt"/>
                <a:ea typeface="+mn-ea"/>
                <a:cs typeface="+mn-cs"/>
              </a:rPr>
              <a:t> </a:t>
            </a:r>
          </a:p>
          <a:p>
            <a:pPr marL="0" marR="0" indent="0" algn="just" defTabSz="914400" rtl="0" eaLnBrk="1" fontAlgn="auto" latinLnBrk="0" hangingPunct="1">
              <a:lnSpc>
                <a:spcPct val="107000"/>
              </a:lnSpc>
              <a:spcBef>
                <a:spcPts val="0"/>
              </a:spcBef>
              <a:spcAft>
                <a:spcPts val="0"/>
              </a:spcAft>
              <a:buClrTx/>
              <a:buSzTx/>
              <a:buFontTx/>
              <a:buNone/>
              <a:tabLst/>
              <a:defRPr/>
            </a:pPr>
            <a:r>
              <a:rPr lang="es-CL" sz="1200" kern="1200" dirty="0" smtClean="0">
                <a:solidFill>
                  <a:schemeClr val="tx1"/>
                </a:solidFill>
                <a:effectLst/>
                <a:latin typeface="+mn-lt"/>
                <a:ea typeface="+mn-ea"/>
                <a:cs typeface="+mn-cs"/>
              </a:rPr>
              <a:t>El comunicar la reflexión tras las decisiones, los horarios, los turnos, etc., permiten un dialogo fluido en donde la confianza debe profundizarse especialmente en estos momentos. A nivel comunicacional es importante también, dar visibilidad de las medidas preventivas que se están adoptando de forma de no poner en peligro a los trabajadores ni a sus familias.</a:t>
            </a:r>
          </a:p>
          <a:p>
            <a:pPr marL="0" marR="0" indent="0" algn="just" defTabSz="914400" rtl="0" eaLnBrk="1" fontAlgn="auto" latinLnBrk="0" hangingPunct="1">
              <a:lnSpc>
                <a:spcPct val="107000"/>
              </a:lnSpc>
              <a:spcBef>
                <a:spcPts val="0"/>
              </a:spcBef>
              <a:spcAft>
                <a:spcPts val="0"/>
              </a:spcAft>
              <a:buClrTx/>
              <a:buSzTx/>
              <a:buFontTx/>
              <a:buNone/>
              <a:tabLst/>
              <a:defRPr/>
            </a:pPr>
            <a:r>
              <a:rPr lang="es-ES" sz="1200" kern="1200" dirty="0" smtClean="0">
                <a:solidFill>
                  <a:schemeClr val="tx1"/>
                </a:solidFill>
                <a:effectLst/>
                <a:latin typeface="+mn-lt"/>
                <a:ea typeface="+mn-ea"/>
                <a:cs typeface="+mn-cs"/>
              </a:rPr>
              <a:t>La forma de manejar la información por parte de los líderes debe ser adecuada a la condición emocional de los trabajadores, se deben tomar para evitar el pánico, la ansiedad y disminuir los efectos emocionales desestabilizadores. Es recomendable alentar la participación de</a:t>
            </a:r>
            <a:r>
              <a:rPr lang="es-ES" sz="1200" kern="1200" baseline="0" dirty="0" smtClean="0">
                <a:solidFill>
                  <a:schemeClr val="tx1"/>
                </a:solidFill>
                <a:effectLst/>
                <a:latin typeface="+mn-lt"/>
                <a:ea typeface="+mn-ea"/>
                <a:cs typeface="+mn-cs"/>
              </a:rPr>
              <a:t> equipo</a:t>
            </a:r>
            <a:r>
              <a:rPr lang="es-ES" sz="1200" kern="1200" dirty="0" smtClean="0">
                <a:solidFill>
                  <a:schemeClr val="tx1"/>
                </a:solidFill>
                <a:effectLst/>
                <a:latin typeface="+mn-lt"/>
                <a:ea typeface="+mn-ea"/>
                <a:cs typeface="+mn-cs"/>
              </a:rPr>
              <a:t>, generando sensación de equipo. Es relevante recordar que se debe evitar un lenguaje excesivamente técnico.</a:t>
            </a:r>
          </a:p>
          <a:p>
            <a:pPr marL="0" marR="0" indent="0" algn="just" defTabSz="914400" rtl="0" eaLnBrk="1" fontAlgn="auto" latinLnBrk="0" hangingPunct="1">
              <a:lnSpc>
                <a:spcPct val="107000"/>
              </a:lnSpc>
              <a:spcBef>
                <a:spcPts val="0"/>
              </a:spcBef>
              <a:spcAft>
                <a:spcPts val="0"/>
              </a:spcAft>
              <a:buClrTx/>
              <a:buSzTx/>
              <a:buFontTx/>
              <a:buNone/>
              <a:tabLst/>
              <a:defRPr/>
            </a:pPr>
            <a:r>
              <a:rPr lang="es-ES" sz="1200" kern="1200" dirty="0" smtClean="0">
                <a:solidFill>
                  <a:schemeClr val="tx1"/>
                </a:solidFill>
                <a:effectLst/>
                <a:latin typeface="+mn-lt"/>
                <a:ea typeface="+mn-ea"/>
                <a:cs typeface="+mn-cs"/>
              </a:rPr>
              <a:t>No solo con el rol de jefaturas, si no que líderes que ayuden a modelar los comportamientos que aporten a sobrellevar la crisis, como el autocuidado, fomentar la socialización y la comunicación.</a:t>
            </a:r>
            <a:endParaRPr lang="en-US" dirty="0" smtClean="0"/>
          </a:p>
          <a:p>
            <a:pPr marL="0" indent="0" algn="just">
              <a:lnSpc>
                <a:spcPct val="107000"/>
              </a:lnSpc>
              <a:buNone/>
            </a:pPr>
            <a:endParaRPr lang="es-CL" dirty="0" smtClean="0"/>
          </a:p>
          <a:p>
            <a:pPr algn="just">
              <a:lnSpc>
                <a:spcPct val="107000"/>
              </a:lnSpc>
            </a:pPr>
            <a:r>
              <a:rPr lang="es-CL" dirty="0" smtClean="0"/>
              <a:t>Priorizar que el  contenido de la información sea transparente y lo más detallada posible.</a:t>
            </a:r>
            <a:endParaRPr lang="en-US" dirty="0" smtClean="0"/>
          </a:p>
          <a:p>
            <a:pPr marL="342900" indent="-342900" algn="just">
              <a:lnSpc>
                <a:spcPct val="107000"/>
              </a:lnSpc>
              <a:buFont typeface="Wingdings,Sans-Serif"/>
              <a:buChar char=""/>
            </a:pPr>
            <a:r>
              <a:rPr lang="es-CL" dirty="0" smtClean="0"/>
              <a:t>Lenguaje cercano</a:t>
            </a:r>
            <a:endParaRPr lang="en-US" dirty="0" smtClean="0"/>
          </a:p>
          <a:p>
            <a:pPr marL="342900" indent="-342900" algn="just">
              <a:lnSpc>
                <a:spcPct val="107000"/>
              </a:lnSpc>
              <a:buFont typeface="Wingdings,Sans-Serif"/>
              <a:buChar char=""/>
            </a:pPr>
            <a:r>
              <a:rPr lang="es-CL" dirty="0" smtClean="0"/>
              <a:t>Hacer partícipe a los trabajadores de actividades, de esta manera se genera sentido de pertenencia.</a:t>
            </a:r>
            <a:endParaRPr lang="en-US" dirty="0" smtClean="0"/>
          </a:p>
          <a:p>
            <a:pPr marL="342900" indent="-342900" algn="just">
              <a:lnSpc>
                <a:spcPct val="107000"/>
              </a:lnSpc>
              <a:spcAft>
                <a:spcPts val="800"/>
              </a:spcAft>
              <a:buFont typeface="Wingdings,Sans-Serif"/>
              <a:buChar char=""/>
            </a:pPr>
            <a:r>
              <a:rPr lang="es-CL" dirty="0" smtClean="0"/>
              <a:t>Los trabajadores deben estar debidamente informados de manera oportuna. </a:t>
            </a:r>
          </a:p>
          <a:p>
            <a:pPr marL="342900" indent="-342900" algn="just">
              <a:lnSpc>
                <a:spcPct val="107000"/>
              </a:lnSpc>
              <a:spcAft>
                <a:spcPts val="800"/>
              </a:spcAft>
              <a:buFont typeface="Wingdings,Sans-Serif"/>
              <a:buChar char=""/>
            </a:pPr>
            <a:endParaRPr lang="es-ES" dirty="0" smtClean="0"/>
          </a:p>
          <a:p>
            <a:pPr marL="0" indent="0" algn="just">
              <a:lnSpc>
                <a:spcPct val="107000"/>
              </a:lnSpc>
              <a:spcAft>
                <a:spcPts val="800"/>
              </a:spcAft>
              <a:buFont typeface="Wingdings,Sans-Serif"/>
              <a:buNone/>
            </a:pPr>
            <a:endParaRPr lang="es-ES" dirty="0" smtClean="0"/>
          </a:p>
          <a:p>
            <a:pPr marL="0" indent="0" algn="just">
              <a:lnSpc>
                <a:spcPct val="107000"/>
              </a:lnSpc>
              <a:spcAft>
                <a:spcPts val="800"/>
              </a:spcAft>
              <a:buFont typeface="Wingdings,Sans-Serif"/>
              <a:buNone/>
            </a:pPr>
            <a:r>
              <a:rPr lang="es-ES" dirty="0" smtClean="0"/>
              <a:t>PROCESO</a:t>
            </a:r>
            <a:r>
              <a:rPr lang="es-ES" baseline="0" dirty="0" smtClean="0"/>
              <a:t> DE REINCOPORACIÓN </a:t>
            </a:r>
          </a:p>
          <a:p>
            <a:pPr marL="0" indent="0" algn="just">
              <a:lnSpc>
                <a:spcPct val="107000"/>
              </a:lnSpc>
              <a:spcAft>
                <a:spcPts val="800"/>
              </a:spcAft>
              <a:buFont typeface="Wingdings,Sans-Serif"/>
              <a:buNone/>
            </a:pPr>
            <a:r>
              <a:rPr lang="es-ES" baseline="0" dirty="0" smtClean="0"/>
              <a:t>PARA ALGUNAS ORGANIZACIONES O PYMES QUE DEBAN REGRESAR A SUS PUESTOS DE TRABAJO ES IMPORTANTE CONSIDERAR:</a:t>
            </a:r>
          </a:p>
          <a:p>
            <a:pPr marL="0" indent="0" algn="just">
              <a:lnSpc>
                <a:spcPct val="107000"/>
              </a:lnSpc>
              <a:spcAft>
                <a:spcPts val="800"/>
              </a:spcAft>
              <a:buFont typeface="Wingdings,Sans-Serif"/>
              <a:buNone/>
            </a:pPr>
            <a:r>
              <a:rPr lang="es-CL" sz="1200" kern="1200" dirty="0" smtClean="0">
                <a:solidFill>
                  <a:schemeClr val="tx1"/>
                </a:solidFill>
                <a:effectLst/>
                <a:latin typeface="+mn-lt"/>
                <a:ea typeface="+mn-ea"/>
                <a:cs typeface="+mn-cs"/>
              </a:rPr>
              <a:t>Es necesario que el retorno al trabajo sea lo más matizado posible, con un proceso equilibrado de transición, teniendo en consideración aspectos de salud mental que serán claves para una buena adaptación en el futuro.</a:t>
            </a:r>
          </a:p>
          <a:p>
            <a:pPr marL="0" marR="0" lvl="0" indent="0" algn="just" defTabSz="914400" rtl="0" eaLnBrk="1" fontAlgn="auto" latinLnBrk="0" hangingPunct="1">
              <a:lnSpc>
                <a:spcPct val="107000"/>
              </a:lnSpc>
              <a:spcBef>
                <a:spcPts val="0"/>
              </a:spcBef>
              <a:spcAft>
                <a:spcPts val="800"/>
              </a:spcAft>
              <a:buClrTx/>
              <a:buSzTx/>
              <a:buFont typeface="Wingdings,Sans-Serif"/>
              <a:buNone/>
              <a:tabLst/>
              <a:defRPr/>
            </a:pPr>
            <a:r>
              <a:rPr lang="es-CL" sz="1200" b="1" kern="1200" dirty="0" smtClean="0">
                <a:solidFill>
                  <a:schemeClr val="tx1"/>
                </a:solidFill>
                <a:effectLst/>
                <a:latin typeface="+mn-lt"/>
                <a:ea typeface="+mn-ea"/>
                <a:cs typeface="+mn-cs"/>
              </a:rPr>
              <a:t>Protección física</a:t>
            </a:r>
            <a:r>
              <a:rPr lang="es-CL" sz="1200" kern="1200" dirty="0" smtClean="0">
                <a:solidFill>
                  <a:schemeClr val="tx1"/>
                </a:solidFill>
                <a:effectLst/>
                <a:latin typeface="+mn-lt"/>
                <a:ea typeface="+mn-ea"/>
                <a:cs typeface="+mn-cs"/>
              </a:rPr>
              <a:t>: El proceso de reincorporación al trabajo presencial para quienes estaban realizando teletrabajo o esperando la reincorporación debe generarse garantizando la seguridad y la salud de las personas trabajadoras. Dentro de lo posible, se requiere la vuelta a esta nuevas rutinas de una manera ordenada y escalonada, siendo los grupos de riesgo los últimos en reincorporarse. Es importante no generar un quiebre abrupto en el ritmo habitual de vida de las personas, la pandemia ya es un quiebre abrupto, por lo que debemos tratar de no generar mayor sintomatología negativa con más cambios inesperados o abruptos.  El cambio drástico en trabajadores genera emociones negativas y obliga a adaptarse de una forma que puede llegar a ser traumática. Es por esto por lo que se sugiere que quienes deben pasar de una modalidad teletrabajo a presencial lo realicen de una forma pausada. </a:t>
            </a:r>
          </a:p>
          <a:p>
            <a:pPr marL="0" marR="0" lvl="0" indent="0" algn="l" defTabSz="914400" rtl="0" eaLnBrk="1" fontAlgn="base" latinLnBrk="0" hangingPunct="1">
              <a:lnSpc>
                <a:spcPct val="100000"/>
              </a:lnSpc>
              <a:spcBef>
                <a:spcPts val="0"/>
              </a:spcBef>
              <a:spcAft>
                <a:spcPts val="0"/>
              </a:spcAft>
              <a:buClrTx/>
              <a:buSzTx/>
              <a:buFontTx/>
              <a:buNone/>
              <a:tabLst/>
              <a:defRPr/>
            </a:pPr>
            <a:r>
              <a:rPr lang="es-CL" sz="1200" b="1" kern="1200" dirty="0" smtClean="0">
                <a:solidFill>
                  <a:schemeClr val="tx1"/>
                </a:solidFill>
                <a:effectLst/>
                <a:latin typeface="+mn-lt"/>
                <a:ea typeface="+mn-ea"/>
                <a:cs typeface="+mn-cs"/>
              </a:rPr>
              <a:t>Comunicación oportuna:</a:t>
            </a:r>
            <a:r>
              <a:rPr lang="es-CL" sz="1200" kern="1200" dirty="0" smtClean="0">
                <a:solidFill>
                  <a:schemeClr val="tx1"/>
                </a:solidFill>
                <a:effectLst/>
                <a:latin typeface="+mn-lt"/>
                <a:ea typeface="+mn-ea"/>
                <a:cs typeface="+mn-cs"/>
              </a:rPr>
              <a:t> Es ideal que el proceso de reincorporación al trabajo sea conversado en la organización por lo que la comunicación será clave en esos momentos. A nivel comunicacional es importante también, dar visibilidad de las medidas preventivas que se están adoptando de forma de no poner en peligro a los trabajadores ni a sus familias.</a:t>
            </a:r>
          </a:p>
          <a:p>
            <a:pPr fontAlgn="base"/>
            <a:r>
              <a:rPr lang="es-CL" sz="1200" b="1" kern="1200" dirty="0" smtClean="0">
                <a:solidFill>
                  <a:schemeClr val="tx1"/>
                </a:solidFill>
                <a:effectLst/>
                <a:latin typeface="+mn-lt"/>
                <a:ea typeface="+mn-ea"/>
                <a:cs typeface="+mn-cs"/>
              </a:rPr>
              <a:t>Evaluación de rutinas periódicamente</a:t>
            </a:r>
            <a:r>
              <a:rPr lang="es-CL" sz="1200" b="1" kern="1200" baseline="0" dirty="0" smtClean="0">
                <a:solidFill>
                  <a:schemeClr val="tx1"/>
                </a:solidFill>
                <a:effectLst/>
                <a:latin typeface="+mn-lt"/>
                <a:ea typeface="+mn-ea"/>
                <a:cs typeface="+mn-cs"/>
              </a:rPr>
              <a:t> </a:t>
            </a:r>
            <a:r>
              <a:rPr lang="es-CL" sz="1200" kern="1200" dirty="0" smtClean="0">
                <a:solidFill>
                  <a:schemeClr val="tx1"/>
                </a:solidFill>
                <a:effectLst/>
                <a:latin typeface="+mn-lt"/>
                <a:ea typeface="+mn-ea"/>
                <a:cs typeface="+mn-cs"/>
              </a:rPr>
              <a:t>En procesos de teletrabajo, por ejemplo, se sugiere que la vuelta al trabajo presencial sea paulatina modificando la semana de cinco días de teletrabajo, a tres días de teletrabajo y dos días presenciales a la semana siguiente, para luego a la siguiente semana tres días presenciales y dos de teletrabajo, lo importante es que la gradualidad genere espacios en los trabajadores para poder resolver otros aspectos de su vida que podrían no estar resueltos, o modificados productos de la pandemia, así como acostumbrarse a la nueva realidad.</a:t>
            </a:r>
          </a:p>
          <a:p>
            <a:pPr fontAlgn="base"/>
            <a:r>
              <a:rPr lang="es-CL" sz="1200" b="1" kern="1200" dirty="0" smtClean="0">
                <a:solidFill>
                  <a:schemeClr val="tx1"/>
                </a:solidFill>
                <a:effectLst/>
                <a:latin typeface="+mn-lt"/>
                <a:ea typeface="+mn-ea"/>
                <a:cs typeface="+mn-cs"/>
              </a:rPr>
              <a:t>Medidas adicionales</a:t>
            </a:r>
          </a:p>
          <a:p>
            <a:pPr fontAlgn="base"/>
            <a:r>
              <a:rPr lang="es-CL" sz="1200" kern="1200" dirty="0" smtClean="0">
                <a:solidFill>
                  <a:schemeClr val="tx1"/>
                </a:solidFill>
                <a:effectLst/>
                <a:latin typeface="+mn-lt"/>
                <a:ea typeface="+mn-ea"/>
                <a:cs typeface="+mn-cs"/>
              </a:rPr>
              <a:t>Para trabajadores que pueden seguir realizando labores de teletrabajo, se sugiere que, si el teletrabajo se generó a raíz de la pandemia mundial, o desde el estallido social de octubre, se trabaje caso a caso las decisiones a tomar. Son decisiones que no solo dicen relación con la posibilidad de generar la tarea de forma remota, la confianza hacia y desde el trabajador, sino también la comodidad que ha sentido el trabajador y su jefatura directa en este proceso. Como sugerencia, para quienes se sienten cómodos trabajando bajo esta modalidad una forma sana y adecuada a nivel general es que de una semana laboral de cinco días no se </a:t>
            </a:r>
            <a:r>
              <a:rPr lang="es-CL" sz="1200" kern="1200" dirty="0" err="1" smtClean="0">
                <a:solidFill>
                  <a:schemeClr val="tx1"/>
                </a:solidFill>
                <a:effectLst/>
                <a:latin typeface="+mn-lt"/>
                <a:ea typeface="+mn-ea"/>
                <a:cs typeface="+mn-cs"/>
              </a:rPr>
              <a:t>teletrabajen</a:t>
            </a:r>
            <a:r>
              <a:rPr lang="es-CL" sz="1200" kern="1200" dirty="0" smtClean="0">
                <a:solidFill>
                  <a:schemeClr val="tx1"/>
                </a:solidFill>
                <a:effectLst/>
                <a:latin typeface="+mn-lt"/>
                <a:ea typeface="+mn-ea"/>
                <a:cs typeface="+mn-cs"/>
              </a:rPr>
              <a:t> más de tres días. </a:t>
            </a:r>
          </a:p>
          <a:p>
            <a:pPr fontAlgn="base"/>
            <a:endParaRPr lang="es-ES" sz="1200" b="1" dirty="0" smtClean="0"/>
          </a:p>
          <a:p>
            <a:pPr fontAlgn="base"/>
            <a:endParaRPr lang="es-ES" dirty="0" smtClean="0"/>
          </a:p>
          <a:p>
            <a:pPr marL="342900" indent="-342900" algn="just">
              <a:lnSpc>
                <a:spcPct val="107000"/>
              </a:lnSpc>
              <a:spcAft>
                <a:spcPts val="800"/>
              </a:spcAft>
              <a:buFont typeface="Wingdings,Sans-Serif"/>
              <a:buChar char=""/>
            </a:pPr>
            <a:endParaRPr lang="en-US" dirty="0" smtClean="0"/>
          </a:p>
          <a:p>
            <a:endParaRPr lang="en-US" dirty="0" smtClean="0">
              <a:cs typeface="Calibri"/>
            </a:endParaRPr>
          </a:p>
          <a:p>
            <a:endParaRPr lang="es-CL" dirty="0"/>
          </a:p>
        </p:txBody>
      </p:sp>
      <p:sp>
        <p:nvSpPr>
          <p:cNvPr id="4" name="Marcador de número de diapositiva 3"/>
          <p:cNvSpPr>
            <a:spLocks noGrp="1"/>
          </p:cNvSpPr>
          <p:nvPr>
            <p:ph type="sldNum" sz="quarter" idx="10"/>
          </p:nvPr>
        </p:nvSpPr>
        <p:spPr/>
        <p:txBody>
          <a:bodyPr/>
          <a:lstStyle/>
          <a:p>
            <a:fld id="{9E5CA14C-C590-4272-8883-6A16AF610820}" type="slidenum">
              <a:rPr lang="es-CL" smtClean="0"/>
              <a:t>5</a:t>
            </a:fld>
            <a:endParaRPr lang="es-CL"/>
          </a:p>
        </p:txBody>
      </p:sp>
    </p:spTree>
    <p:extLst>
      <p:ext uri="{BB962C8B-B14F-4D97-AF65-F5344CB8AC3E}">
        <p14:creationId xmlns:p14="http://schemas.microsoft.com/office/powerpoint/2010/main" val="942486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smtClean="0">
                <a:solidFill>
                  <a:schemeClr val="tx1"/>
                </a:solidFill>
                <a:effectLst/>
                <a:latin typeface="+mn-lt"/>
                <a:ea typeface="+mn-ea"/>
                <a:cs typeface="+mn-cs"/>
              </a:rPr>
              <a:t>Paso 1: reconocer sus emociones. Cuidarse para cuidar.</a:t>
            </a:r>
          </a:p>
          <a:p>
            <a:r>
              <a:rPr lang="es-CL" sz="1200" kern="1200" dirty="0" smtClean="0">
                <a:solidFill>
                  <a:schemeClr val="tx1"/>
                </a:solidFill>
                <a:effectLst/>
                <a:latin typeface="+mn-lt"/>
                <a:ea typeface="+mn-ea"/>
                <a:cs typeface="+mn-cs"/>
              </a:rPr>
              <a:t>Paso 2: Evaluar si se siente apto para contener a otro, es válido y ético derivar si considero que no puedo abordar la situación.</a:t>
            </a:r>
          </a:p>
          <a:p>
            <a:r>
              <a:rPr lang="es-CL" sz="1200" kern="1200" dirty="0" smtClean="0">
                <a:solidFill>
                  <a:schemeClr val="tx1"/>
                </a:solidFill>
                <a:effectLst/>
                <a:latin typeface="+mn-lt"/>
                <a:ea typeface="+mn-ea"/>
                <a:cs typeface="+mn-cs"/>
              </a:rPr>
              <a:t>Paso 3: Preguntar al trabajador si quiere que lo acompañe o escuche, la contención es un proceso voluntario.</a:t>
            </a:r>
          </a:p>
          <a:p>
            <a:r>
              <a:rPr lang="es-CL" sz="1200" kern="1200" dirty="0" smtClean="0">
                <a:solidFill>
                  <a:schemeClr val="tx1"/>
                </a:solidFill>
                <a:effectLst/>
                <a:latin typeface="+mn-lt"/>
                <a:ea typeface="+mn-ea"/>
                <a:cs typeface="+mn-cs"/>
              </a:rPr>
              <a:t>Paso 4: Escucha activa (sin interrupciones, ni mirar reloj, celular o computador). La persona que realiza esta actividad se debe predisponer a destinar ese tiempo para escuchar. La guía ABCDE de la Universidad </a:t>
            </a:r>
            <a:r>
              <a:rPr lang="es-CL" sz="1200" kern="1200" dirty="0" err="1" smtClean="0">
                <a:solidFill>
                  <a:schemeClr val="tx1"/>
                </a:solidFill>
                <a:effectLst/>
                <a:latin typeface="+mn-lt"/>
                <a:ea typeface="+mn-ea"/>
                <a:cs typeface="+mn-cs"/>
              </a:rPr>
              <a:t>Catolica</a:t>
            </a:r>
            <a:r>
              <a:rPr lang="es-CL" sz="1200" kern="1200" dirty="0" smtClean="0">
                <a:solidFill>
                  <a:schemeClr val="tx1"/>
                </a:solidFill>
                <a:effectLst/>
                <a:latin typeface="+mn-lt"/>
                <a:ea typeface="+mn-ea"/>
                <a:cs typeface="+mn-cs"/>
              </a:rPr>
              <a:t> refiere: Saber comunicarse con una persona angustiada, ansiosa  o  alterada  es fundamental, la persona puede querer o no contarle su historia. Escuchar ese testimonio puede ser de gran ayuda para calmar a la persona afectada, por lo cual es esencial dar espacio para que ella cuente de manera espontánea lo que le está ocurriendo, pero sin presionarlo.</a:t>
            </a:r>
          </a:p>
          <a:p>
            <a:pPr marL="0" marR="0" indent="0" algn="l" defTabSz="914400" rtl="0" eaLnBrk="1" fontAlgn="auto" latinLnBrk="0" hangingPunct="1">
              <a:lnSpc>
                <a:spcPct val="100000"/>
              </a:lnSpc>
              <a:spcBef>
                <a:spcPts val="0"/>
              </a:spcBef>
              <a:spcAft>
                <a:spcPts val="0"/>
              </a:spcAft>
              <a:buClrTx/>
              <a:buSzTx/>
              <a:buFontTx/>
              <a:buNone/>
              <a:tabLst/>
              <a:defRPr/>
            </a:pPr>
            <a:r>
              <a:rPr lang="es-CL" sz="1200" kern="1200" dirty="0" smtClean="0">
                <a:solidFill>
                  <a:schemeClr val="tx1"/>
                </a:solidFill>
                <a:effectLst/>
                <a:latin typeface="+mn-lt"/>
                <a:ea typeface="+mn-ea"/>
                <a:cs typeface="+mn-cs"/>
              </a:rPr>
              <a:t>El lenguaje corporal es una herramienta fundamental para transmitir comprensión y empatía. Utilizar las posturas, los gestos y el contacto visual son parte esencial de esta técnica.</a:t>
            </a:r>
          </a:p>
          <a:p>
            <a:r>
              <a:rPr lang="es-ES" b="1" dirty="0" smtClean="0"/>
              <a:t>PASO 5 VALIDAR LA EMOCION</a:t>
            </a:r>
            <a:endParaRPr lang="es-CL" b="1" dirty="0" smtClean="0"/>
          </a:p>
          <a:p>
            <a:pPr lvl="0"/>
            <a:r>
              <a:rPr lang="es-CL" b="1" dirty="0" smtClean="0"/>
              <a:t>Es clave no minimizar, no dar falsas esperanzas, no enjuiciar, investigar o apresurarse para entregar soluciones. </a:t>
            </a:r>
          </a:p>
          <a:p>
            <a:pPr lvl="0"/>
            <a:r>
              <a:rPr lang="es-CL" sz="1200" kern="1200" dirty="0" smtClean="0">
                <a:solidFill>
                  <a:schemeClr val="tx1"/>
                </a:solidFill>
                <a:effectLst/>
                <a:latin typeface="+mn-lt"/>
                <a:ea typeface="+mn-ea"/>
                <a:cs typeface="+mn-cs"/>
              </a:rPr>
              <a:t>Paso 5: Validar la emoción. Cuando las personas se encuentran sobrepasadas, generalmente intentaron contenerse, pero llegaron a un punto que fue insostenible, “nadie quiere llorar frente a su jefatura”, por lo tanto no es recomendable mencionar frases como “cálmate, tranquilo (a).”  Se debe recordar que el objetivo es conectarme con el otro para facilitar su proceso de adaptación, por lo tanto se recomiendan señalar frases que validen la emoción “es normal que te sientas así”, está bien llorar”, “lo que sientes es válido”</a:t>
            </a:r>
          </a:p>
          <a:p>
            <a:pPr lvl="0"/>
            <a:r>
              <a:rPr lang="es-ES" sz="1200" b="1" kern="1200" dirty="0" smtClean="0">
                <a:solidFill>
                  <a:schemeClr val="tx1"/>
                </a:solidFill>
                <a:effectLst/>
                <a:latin typeface="+mn-lt"/>
                <a:ea typeface="+mn-ea"/>
                <a:cs typeface="+mn-cs"/>
              </a:rPr>
              <a:t>PASO</a:t>
            </a:r>
            <a:r>
              <a:rPr lang="es-ES" sz="1200" b="1" kern="1200" baseline="0" dirty="0" smtClean="0">
                <a:solidFill>
                  <a:schemeClr val="tx1"/>
                </a:solidFill>
                <a:effectLst/>
                <a:latin typeface="+mn-lt"/>
                <a:ea typeface="+mn-ea"/>
                <a:cs typeface="+mn-cs"/>
              </a:rPr>
              <a:t> 6 TECNICA ESPEJO  Y DE RESPIRACIÓN</a:t>
            </a:r>
          </a:p>
          <a:p>
            <a:pPr lvl="0"/>
            <a:r>
              <a:rPr lang="es-CL" sz="1200" kern="1200" dirty="0" smtClean="0">
                <a:solidFill>
                  <a:schemeClr val="tx1"/>
                </a:solidFill>
                <a:effectLst/>
                <a:latin typeface="+mn-lt"/>
                <a:ea typeface="+mn-ea"/>
                <a:cs typeface="+mn-cs"/>
              </a:rPr>
              <a:t>guiarlo por medio de técnicas de respiración.</a:t>
            </a:r>
          </a:p>
          <a:p>
            <a:pPr lvl="0"/>
            <a:r>
              <a:rPr lang="es-CL" sz="1200" kern="1200" dirty="0" smtClean="0">
                <a:solidFill>
                  <a:schemeClr val="tx1"/>
                </a:solidFill>
                <a:effectLst/>
                <a:latin typeface="+mn-lt"/>
                <a:ea typeface="+mn-ea"/>
                <a:cs typeface="+mn-cs"/>
              </a:rPr>
              <a:t> Según el manual ABCDE de la PUC, algunas personas que han vivido una crisis pueden mostrarse ansiosas o alteradas, sintiendo confusión o encontrándose sobrepasadas por la situación, observándose temblorosas, teniendo dificultades para respirar o sintiendo su corazón muy agitado. Por esta razón, los PAP contemplan unos minutos para enseñar y practicar reentrenamiento de la (B)</a:t>
            </a:r>
            <a:r>
              <a:rPr lang="es-CL" sz="1200" kern="1200" dirty="0" err="1" smtClean="0">
                <a:solidFill>
                  <a:schemeClr val="tx1"/>
                </a:solidFill>
                <a:effectLst/>
                <a:latin typeface="+mn-lt"/>
                <a:ea typeface="+mn-ea"/>
                <a:cs typeface="+mn-cs"/>
              </a:rPr>
              <a:t>entilación</a:t>
            </a:r>
            <a:r>
              <a:rPr lang="es-CL" sz="1200" kern="1200" dirty="0" smtClean="0">
                <a:solidFill>
                  <a:schemeClr val="tx1"/>
                </a:solidFill>
                <a:effectLst/>
                <a:latin typeface="+mn-lt"/>
                <a:ea typeface="+mn-ea"/>
                <a:cs typeface="+mn-cs"/>
              </a:rPr>
              <a:t> y así ayudar a las personas a tranquilizarse. Este paso toma 10 minutos, aunque habrá personas que necesitarán más tiempo. </a:t>
            </a:r>
            <a:endParaRPr lang="es-ES" sz="1200" b="1" kern="1200" baseline="0" dirty="0" smtClean="0">
              <a:solidFill>
                <a:schemeClr val="tx1"/>
              </a:solidFill>
              <a:effectLst/>
              <a:latin typeface="+mn-lt"/>
              <a:ea typeface="+mn-ea"/>
              <a:cs typeface="+mn-cs"/>
            </a:endParaRPr>
          </a:p>
          <a:p>
            <a:pPr lvl="0"/>
            <a:r>
              <a:rPr lang="es-CL" sz="1200" kern="1200" dirty="0" smtClean="0">
                <a:solidFill>
                  <a:schemeClr val="tx1"/>
                </a:solidFill>
                <a:effectLst/>
                <a:latin typeface="+mn-lt"/>
                <a:ea typeface="+mn-ea"/>
                <a:cs typeface="+mn-cs"/>
              </a:rPr>
              <a:t>Diríjase a la persona y dígale: Ahora ensayaremos el re-entrenamiento de la respiración: consiste en inspirar, exhalar y luego esperar un momento con los pulmones vacíos hasta volver a inspirar… lo importante es la pausa luego de vaciar los pulmones”</a:t>
            </a:r>
          </a:p>
          <a:p>
            <a:r>
              <a:rPr lang="es-CL" sz="1200" kern="1200" dirty="0" smtClean="0">
                <a:solidFill>
                  <a:schemeClr val="tx1"/>
                </a:solidFill>
                <a:effectLst/>
                <a:latin typeface="+mn-lt"/>
                <a:ea typeface="+mn-ea"/>
                <a:cs typeface="+mn-cs"/>
              </a:rPr>
              <a:t>Puede pedirle que lo practiquen juntos</a:t>
            </a:r>
            <a:endParaRPr lang="es-ES" b="1" dirty="0" smtClean="0"/>
          </a:p>
          <a:p>
            <a:pPr lvl="0"/>
            <a:endParaRPr lang="es-CL" b="1" dirty="0" smtClean="0"/>
          </a:p>
          <a:p>
            <a:pPr lvl="0"/>
            <a:endParaRPr lang="en-US" dirty="0" smtClean="0"/>
          </a:p>
          <a:p>
            <a:endParaRPr lang="es-CL" dirty="0"/>
          </a:p>
        </p:txBody>
      </p:sp>
      <p:sp>
        <p:nvSpPr>
          <p:cNvPr id="4" name="Marcador de número de diapositiva 3"/>
          <p:cNvSpPr>
            <a:spLocks noGrp="1"/>
          </p:cNvSpPr>
          <p:nvPr>
            <p:ph type="sldNum" sz="quarter" idx="10"/>
          </p:nvPr>
        </p:nvSpPr>
        <p:spPr/>
        <p:txBody>
          <a:bodyPr/>
          <a:lstStyle/>
          <a:p>
            <a:fld id="{9E5CA14C-C590-4272-8883-6A16AF610820}" type="slidenum">
              <a:rPr lang="es-CL" smtClean="0"/>
              <a:t>6</a:t>
            </a:fld>
            <a:endParaRPr lang="es-CL"/>
          </a:p>
        </p:txBody>
      </p:sp>
    </p:spTree>
    <p:extLst>
      <p:ext uri="{BB962C8B-B14F-4D97-AF65-F5344CB8AC3E}">
        <p14:creationId xmlns:p14="http://schemas.microsoft.com/office/powerpoint/2010/main" val="501803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a:buChar char="•"/>
            </a:pPr>
            <a:r>
              <a:rPr lang="es-CL" dirty="0" smtClean="0"/>
              <a:t>Estrategias de afrontamiento centrado en los problemas</a:t>
            </a:r>
            <a:endParaRPr lang="en-US" dirty="0" smtClean="0"/>
          </a:p>
          <a:p>
            <a:pPr marL="171450" indent="-171450">
              <a:buFont typeface="Arial"/>
              <a:buChar char="•"/>
            </a:pPr>
            <a:r>
              <a:rPr lang="es-CL" dirty="0" smtClean="0"/>
              <a:t>Estrategias de afrontamiento centrado en las emociones</a:t>
            </a:r>
            <a:endParaRPr lang="en-US" dirty="0" smtClean="0"/>
          </a:p>
          <a:p>
            <a:pPr marL="171450" indent="-171450">
              <a:buFont typeface="Arial"/>
              <a:buChar char="•"/>
            </a:pPr>
            <a:r>
              <a:rPr lang="es-CL" dirty="0" smtClean="0"/>
              <a:t>Estrategias de afrontamiento centrado en la evitación</a:t>
            </a:r>
          </a:p>
          <a:p>
            <a:endParaRPr lang="es-CL" dirty="0"/>
          </a:p>
        </p:txBody>
      </p:sp>
      <p:sp>
        <p:nvSpPr>
          <p:cNvPr id="4" name="Marcador de número de diapositiva 3"/>
          <p:cNvSpPr>
            <a:spLocks noGrp="1"/>
          </p:cNvSpPr>
          <p:nvPr>
            <p:ph type="sldNum" sz="quarter" idx="10"/>
          </p:nvPr>
        </p:nvSpPr>
        <p:spPr/>
        <p:txBody>
          <a:bodyPr/>
          <a:lstStyle/>
          <a:p>
            <a:fld id="{9E5CA14C-C590-4272-8883-6A16AF610820}" type="slidenum">
              <a:rPr lang="es-CL" smtClean="0"/>
              <a:t>7</a:t>
            </a:fld>
            <a:endParaRPr lang="es-CL"/>
          </a:p>
        </p:txBody>
      </p:sp>
    </p:spTree>
    <p:extLst>
      <p:ext uri="{BB962C8B-B14F-4D97-AF65-F5344CB8AC3E}">
        <p14:creationId xmlns:p14="http://schemas.microsoft.com/office/powerpoint/2010/main" val="39036337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kern="1200" dirty="0" smtClean="0">
                <a:solidFill>
                  <a:schemeClr val="tx1"/>
                </a:solidFill>
                <a:effectLst/>
                <a:latin typeface="+mn-lt"/>
                <a:ea typeface="+mn-ea"/>
                <a:cs typeface="+mn-cs"/>
              </a:rPr>
              <a:t>Estas estrategias están dirigidas a la definición del problema, buscan solución para este y consideración diferentes opciones en función de costo y beneficio </a:t>
            </a:r>
          </a:p>
          <a:p>
            <a:pPr marL="0" marR="0" indent="0" algn="l" defTabSz="914400" rtl="0" eaLnBrk="1" fontAlgn="auto" latinLnBrk="0" hangingPunct="1">
              <a:lnSpc>
                <a:spcPct val="100000"/>
              </a:lnSpc>
              <a:spcBef>
                <a:spcPts val="0"/>
              </a:spcBef>
              <a:spcAft>
                <a:spcPts val="0"/>
              </a:spcAft>
              <a:buClrTx/>
              <a:buSzTx/>
              <a:buFontTx/>
              <a:buNone/>
              <a:tabLst/>
              <a:defRPr/>
            </a:pPr>
            <a:r>
              <a:rPr lang="es-ES" sz="1200" b="1" kern="1200" dirty="0" smtClean="0">
                <a:solidFill>
                  <a:schemeClr val="tx1"/>
                </a:solidFill>
                <a:effectLst/>
                <a:latin typeface="+mn-lt"/>
                <a:ea typeface="+mn-ea"/>
                <a:cs typeface="+mn-cs"/>
              </a:rPr>
              <a:t>Anticipación y planeación</a:t>
            </a:r>
            <a:endParaRPr lang="es-CL" sz="1200" b="1"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s-ES" sz="1200" kern="1200" dirty="0" smtClean="0">
                <a:solidFill>
                  <a:schemeClr val="tx1"/>
                </a:solidFill>
                <a:effectLst/>
                <a:latin typeface="+mn-lt"/>
                <a:ea typeface="+mn-ea"/>
                <a:cs typeface="+mn-cs"/>
              </a:rPr>
              <a:t>Dentro de las técnicas de afrontamiento centrado en la solución de problemas está la anticipación y planeación en relación con nuestra salud mental, para esto debemos buscar información, anticipándonos a las consecuencias y hacer planes de solución de problemas. Nuevas pautas de conductas de autocuidado.</a:t>
            </a:r>
            <a:endParaRPr lang="es-CL"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s-ES" sz="1200" kern="1200" dirty="0" smtClean="0">
                <a:solidFill>
                  <a:schemeClr val="tx1"/>
                </a:solidFill>
                <a:effectLst/>
                <a:latin typeface="+mn-lt"/>
                <a:ea typeface="+mn-ea"/>
                <a:cs typeface="+mn-cs"/>
              </a:rPr>
              <a:t>Dentro de las técnicas de afrontamiento centrado en la solución de problemas está la anticipación y planeación en relación con nuestra salud mental, para esto debemos buscar información, anticipándonos a las consecuencias y hacer planes de solución de problemas. Nuevas pautas de conductas de autocuidado.</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Dónde</a:t>
            </a:r>
            <a:r>
              <a:rPr lang="es-ES" sz="1200" kern="1200" baseline="0" dirty="0" smtClean="0">
                <a:solidFill>
                  <a:schemeClr val="tx1"/>
                </a:solidFill>
                <a:effectLst/>
                <a:latin typeface="+mn-lt"/>
                <a:ea typeface="+mn-ea"/>
                <a:cs typeface="+mn-cs"/>
              </a:rPr>
              <a:t> queremos estar?</a:t>
            </a:r>
          </a:p>
          <a:p>
            <a:pPr lvl="0">
              <a:buNone/>
            </a:pPr>
            <a:r>
              <a:rPr lang="es-ES" dirty="0" smtClean="0">
                <a:latin typeface="+mn-lt"/>
                <a:ea typeface="+mn-ea"/>
                <a:cs typeface="+mn-cs"/>
              </a:rPr>
              <a:t>Zona de miedo </a:t>
            </a:r>
            <a:endParaRPr lang="es-CL" dirty="0" smtClean="0">
              <a:latin typeface="+mn-lt"/>
              <a:ea typeface="+mn-ea"/>
              <a:cs typeface="+mn-cs"/>
            </a:endParaRPr>
          </a:p>
          <a:p>
            <a:pPr lvl="1">
              <a:buChar char="•"/>
            </a:pPr>
            <a:r>
              <a:rPr lang="es-ES" dirty="0" smtClean="0">
                <a:latin typeface="+mn-lt"/>
                <a:ea typeface="+mn-ea"/>
                <a:cs typeface="+mn-cs"/>
              </a:rPr>
              <a:t>Estoy permanentemente contagiando emociones de miedo e ira a mis familiares y cercanos.</a:t>
            </a:r>
            <a:endParaRPr lang="es-CL" dirty="0" smtClean="0">
              <a:latin typeface="+mn-lt"/>
              <a:ea typeface="+mn-ea"/>
              <a:cs typeface="+mn-cs"/>
            </a:endParaRPr>
          </a:p>
          <a:p>
            <a:pPr lvl="1">
              <a:buChar char="•"/>
            </a:pPr>
            <a:r>
              <a:rPr lang="es-ES" dirty="0" smtClean="0">
                <a:latin typeface="+mn-lt"/>
                <a:ea typeface="+mn-ea"/>
                <a:cs typeface="+mn-cs"/>
              </a:rPr>
              <a:t>Me quejo a menudo, no veo salida.</a:t>
            </a:r>
            <a:endParaRPr lang="es-CL" dirty="0" smtClean="0">
              <a:latin typeface="+mn-lt"/>
              <a:ea typeface="+mn-ea"/>
              <a:cs typeface="+mn-cs"/>
            </a:endParaRPr>
          </a:p>
          <a:p>
            <a:pPr lvl="1">
              <a:buChar char="•"/>
            </a:pPr>
            <a:r>
              <a:rPr lang="es-ES" dirty="0" smtClean="0">
                <a:latin typeface="+mn-lt"/>
                <a:ea typeface="+mn-ea"/>
                <a:cs typeface="+mn-cs"/>
              </a:rPr>
              <a:t>Reenvío todos los mensajes que recibo, aunque estos no tengan evidencia de ser reales o siembren el pánico.</a:t>
            </a:r>
            <a:endParaRPr lang="es-CL" dirty="0" smtClean="0">
              <a:latin typeface="+mn-lt"/>
              <a:ea typeface="+mn-ea"/>
              <a:cs typeface="+mn-cs"/>
            </a:endParaRPr>
          </a:p>
          <a:p>
            <a:pPr lvl="1">
              <a:buChar char="•"/>
            </a:pPr>
            <a:r>
              <a:rPr lang="es-ES" dirty="0" smtClean="0">
                <a:latin typeface="+mn-lt"/>
                <a:ea typeface="+mn-ea"/>
                <a:cs typeface="+mn-cs"/>
              </a:rPr>
              <a:t>Compro compulsivamente en supermercados y farmacias.</a:t>
            </a:r>
            <a:endParaRPr lang="es-CL" dirty="0" smtClean="0">
              <a:latin typeface="+mn-lt"/>
              <a:ea typeface="+mn-ea"/>
              <a:cs typeface="+mn-cs"/>
            </a:endParaRPr>
          </a:p>
          <a:p>
            <a:pPr lvl="1">
              <a:buChar char="•"/>
            </a:pPr>
            <a:r>
              <a:rPr lang="es-ES" dirty="0" smtClean="0">
                <a:latin typeface="+mn-lt"/>
                <a:ea typeface="+mn-ea"/>
                <a:cs typeface="+mn-cs"/>
              </a:rPr>
              <a:t>Estoy irritable y no trato de hacer nada para manejarlo.</a:t>
            </a:r>
            <a:endParaRPr lang="es-CL" dirty="0" smtClean="0">
              <a:latin typeface="+mn-lt"/>
              <a:ea typeface="+mn-ea"/>
              <a:cs typeface="+mn-cs"/>
            </a:endParaRPr>
          </a:p>
          <a:p>
            <a:pPr lvl="0">
              <a:buNone/>
            </a:pPr>
            <a:r>
              <a:rPr lang="es-CL" dirty="0" smtClean="0">
                <a:latin typeface="+mn-lt"/>
                <a:ea typeface="+mn-ea"/>
                <a:cs typeface="+mn-cs"/>
              </a:rPr>
              <a:t>Zona de </a:t>
            </a:r>
            <a:r>
              <a:rPr lang="es-CL" dirty="0" err="1" smtClean="0">
                <a:latin typeface="+mn-lt"/>
                <a:ea typeface="+mn-ea"/>
                <a:cs typeface="+mn-cs"/>
              </a:rPr>
              <a:t>Apendizaje</a:t>
            </a:r>
            <a:endParaRPr lang="es-CL" dirty="0" smtClean="0">
              <a:latin typeface="+mn-lt"/>
              <a:ea typeface="+mn-ea"/>
              <a:cs typeface="+mn-cs"/>
            </a:endParaRPr>
          </a:p>
          <a:p>
            <a:pPr lvl="1">
              <a:buChar char="•"/>
            </a:pPr>
            <a:r>
              <a:rPr lang="es-CL" dirty="0" smtClean="0">
                <a:latin typeface="+mn-lt"/>
                <a:ea typeface="+mn-ea"/>
                <a:cs typeface="+mn-cs"/>
              </a:rPr>
              <a:t>Soy capaz de observar e identificar mis </a:t>
            </a:r>
            <a:r>
              <a:rPr lang="es-CL" dirty="0" err="1" smtClean="0">
                <a:latin typeface="+mn-lt"/>
                <a:ea typeface="+mn-ea"/>
                <a:cs typeface="+mn-cs"/>
              </a:rPr>
              <a:t>emcoiones</a:t>
            </a:r>
            <a:endParaRPr lang="es-CL" dirty="0" smtClean="0">
              <a:latin typeface="+mn-lt"/>
              <a:ea typeface="+mn-ea"/>
              <a:cs typeface="+mn-cs"/>
            </a:endParaRPr>
          </a:p>
          <a:p>
            <a:pPr lvl="1">
              <a:buChar char="•"/>
            </a:pPr>
            <a:r>
              <a:rPr lang="es-CL" dirty="0" smtClean="0">
                <a:latin typeface="+mn-lt"/>
                <a:ea typeface="+mn-ea"/>
                <a:cs typeface="+mn-cs"/>
              </a:rPr>
              <a:t>Divulgo solo información de fuentes conocidas y que no generará pánico sin sentido.</a:t>
            </a:r>
          </a:p>
          <a:p>
            <a:pPr lvl="1">
              <a:buChar char="•"/>
            </a:pPr>
            <a:r>
              <a:rPr lang="es-CL" dirty="0" smtClean="0">
                <a:latin typeface="+mn-lt"/>
                <a:ea typeface="+mn-ea"/>
                <a:cs typeface="+mn-cs"/>
              </a:rPr>
              <a:t>Reconozco que todos estamos en situación de crisis, empatizo con los otros.</a:t>
            </a:r>
          </a:p>
          <a:p>
            <a:pPr lvl="1">
              <a:buChar char="•"/>
            </a:pPr>
            <a:r>
              <a:rPr lang="es-CL" dirty="0" smtClean="0">
                <a:latin typeface="+mn-lt"/>
                <a:ea typeface="+mn-ea"/>
                <a:cs typeface="+mn-cs"/>
              </a:rPr>
              <a:t>Comienzo a hacer un duelo sobre lo que no puedo controlar.</a:t>
            </a:r>
          </a:p>
          <a:p>
            <a:pPr lvl="1">
              <a:buChar char="•"/>
            </a:pPr>
            <a:r>
              <a:rPr lang="es-CL" dirty="0" smtClean="0">
                <a:latin typeface="+mn-lt"/>
                <a:ea typeface="+mn-ea"/>
                <a:cs typeface="+mn-cs"/>
              </a:rPr>
              <a:t>Dejo de ver y escuchar noticias que me hacen daño.</a:t>
            </a:r>
          </a:p>
          <a:p>
            <a:pPr lvl="1">
              <a:buChar char="•"/>
            </a:pPr>
            <a:r>
              <a:rPr lang="es-CL" dirty="0" smtClean="0">
                <a:latin typeface="+mn-lt"/>
                <a:ea typeface="+mn-ea"/>
                <a:cs typeface="+mn-cs"/>
              </a:rPr>
              <a:t>He controlado el consumo de alcohol, y otras formas no saludables de manejar mis emociones.</a:t>
            </a:r>
          </a:p>
          <a:p>
            <a:pPr lvl="0">
              <a:buNone/>
            </a:pPr>
            <a:r>
              <a:rPr lang="es-CL" dirty="0" smtClean="0">
                <a:latin typeface="+mn-lt"/>
                <a:ea typeface="+mn-ea"/>
                <a:cs typeface="+mn-cs"/>
              </a:rPr>
              <a:t>Zona de Crecimiento</a:t>
            </a:r>
          </a:p>
          <a:p>
            <a:pPr lvl="1">
              <a:buChar char="•"/>
            </a:pPr>
            <a:r>
              <a:rPr lang="es-CL" dirty="0" smtClean="0">
                <a:latin typeface="+mn-lt"/>
                <a:ea typeface="+mn-ea"/>
                <a:cs typeface="+mn-cs"/>
              </a:rPr>
              <a:t>Ayudo a los demás dentro de mis posibilidades.</a:t>
            </a:r>
          </a:p>
          <a:p>
            <a:pPr lvl="1">
              <a:buChar char="•"/>
            </a:pPr>
            <a:r>
              <a:rPr lang="es-CL" dirty="0" smtClean="0">
                <a:latin typeface="+mn-lt"/>
                <a:ea typeface="+mn-ea"/>
                <a:cs typeface="+mn-cs"/>
              </a:rPr>
              <a:t>Vivo el presente de la mejor forma que puedo, me enfoco en el futuro.</a:t>
            </a:r>
          </a:p>
          <a:p>
            <a:pPr lvl="1">
              <a:buChar char="•"/>
            </a:pPr>
            <a:r>
              <a:rPr lang="es-CL" dirty="0" smtClean="0">
                <a:latin typeface="+mn-lt"/>
                <a:ea typeface="+mn-ea"/>
                <a:cs typeface="+mn-cs"/>
              </a:rPr>
              <a:t>Soy solidario y empático, </a:t>
            </a:r>
            <a:r>
              <a:rPr lang="es-CL" dirty="0" err="1" smtClean="0">
                <a:latin typeface="+mn-lt"/>
                <a:ea typeface="+mn-ea"/>
                <a:cs typeface="+mn-cs"/>
              </a:rPr>
              <a:t>agardezco</a:t>
            </a:r>
            <a:r>
              <a:rPr lang="es-CL" dirty="0" smtClean="0">
                <a:latin typeface="+mn-lt"/>
                <a:ea typeface="+mn-ea"/>
                <a:cs typeface="+mn-cs"/>
              </a:rPr>
              <a:t> y valoro.</a:t>
            </a:r>
          </a:p>
          <a:p>
            <a:pPr lvl="1">
              <a:buChar char="•"/>
            </a:pPr>
            <a:r>
              <a:rPr lang="es-CL" dirty="0" smtClean="0">
                <a:latin typeface="+mn-lt"/>
                <a:ea typeface="+mn-ea"/>
                <a:cs typeface="+mn-cs"/>
              </a:rPr>
              <a:t>Encuentro un propósito</a:t>
            </a:r>
          </a:p>
          <a:p>
            <a:pPr lvl="1">
              <a:buChar char="•"/>
            </a:pPr>
            <a:r>
              <a:rPr lang="es-CL" dirty="0" smtClean="0">
                <a:latin typeface="+mn-lt"/>
                <a:ea typeface="+mn-ea"/>
                <a:cs typeface="+mn-cs"/>
              </a:rPr>
              <a:t>Trato de mantenerme alegre y contagiar esperanza.</a:t>
            </a:r>
          </a:p>
          <a:p>
            <a:pPr lvl="1">
              <a:buChar char="•"/>
            </a:pPr>
            <a:r>
              <a:rPr lang="es-CL" dirty="0" smtClean="0">
                <a:latin typeface="+mn-lt"/>
                <a:ea typeface="+mn-ea"/>
                <a:cs typeface="+mn-cs"/>
              </a:rPr>
              <a:t>Busco adaptarme a los cambios con flexibilidad.</a:t>
            </a:r>
          </a:p>
          <a:p>
            <a:endParaRPr lang="es-CL" sz="1200" kern="1200" dirty="0" smtClean="0">
              <a:solidFill>
                <a:schemeClr val="tx1"/>
              </a:solidFill>
              <a:effectLst/>
              <a:latin typeface="+mn-lt"/>
              <a:ea typeface="+mn-ea"/>
              <a:cs typeface="+mn-cs"/>
            </a:endParaRPr>
          </a:p>
          <a:p>
            <a:pPr lvl="0"/>
            <a:r>
              <a:rPr lang="es-ES" sz="1200" b="1" kern="1200" dirty="0" smtClean="0">
                <a:solidFill>
                  <a:schemeClr val="tx1"/>
                </a:solidFill>
                <a:effectLst/>
                <a:latin typeface="+mn-lt"/>
                <a:ea typeface="+mn-ea"/>
                <a:cs typeface="+mn-cs"/>
              </a:rPr>
              <a:t>Regular la información</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El no </a:t>
            </a:r>
            <a:r>
              <a:rPr lang="es-ES" sz="1200" kern="1200" dirty="0" err="1" smtClean="0">
                <a:solidFill>
                  <a:schemeClr val="tx1"/>
                </a:solidFill>
                <a:effectLst/>
                <a:latin typeface="+mn-lt"/>
                <a:ea typeface="+mn-ea"/>
                <a:cs typeface="+mn-cs"/>
              </a:rPr>
              <a:t>sobreinformarse</a:t>
            </a:r>
            <a:r>
              <a:rPr lang="es-ES" sz="1200" kern="1200" dirty="0" smtClean="0">
                <a:solidFill>
                  <a:schemeClr val="tx1"/>
                </a:solidFill>
                <a:effectLst/>
                <a:latin typeface="+mn-lt"/>
                <a:ea typeface="+mn-ea"/>
                <a:cs typeface="+mn-cs"/>
              </a:rPr>
              <a:t> implica proteger nuestros pensamientos. Para esto debemos evitar informaciones excesivas, especialmente el acceso a información de pánico o reiterativa que no entrega solución ni medidas de prevención.</a:t>
            </a:r>
            <a:r>
              <a:rPr lang="es-ES" dirty="0" smtClean="0"/>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Pensar permanentemente en la enfermedad y el contagio puede causar más temor y aumentar el malestar emocional. Es importante que cuides tu salud y que te protejas de la manera adecuada, pero así como te proteges tu salud debes protegerte de información errada, tratando de ver noticieros o escuchar información en lugares oficiales, de autoridades de confianza e idealmente no más de una vez al día.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Asimismo, comparte información basada en evidencia, que sea confiable. Trata de compartir solo información que ayude a tus compañeros a tomar medidas y planificar sus actividades cotidianas. No envíes videos, audios o imágenes que puedan afectar a quienes las observan, que sean sumamente violentas, muy graficas o que puedan generar en quienes las reciben una sensación de vulnerabilidad más que de información.</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En resumen:</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No </a:t>
            </a:r>
            <a:r>
              <a:rPr lang="es-ES" sz="1200" kern="1200" dirty="0" err="1" smtClean="0">
                <a:solidFill>
                  <a:schemeClr val="tx1"/>
                </a:solidFill>
                <a:effectLst/>
                <a:latin typeface="+mn-lt"/>
                <a:ea typeface="+mn-ea"/>
                <a:cs typeface="+mn-cs"/>
              </a:rPr>
              <a:t>sobreinformarse</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Elegir medios de información</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Elegir horarios para informarse</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lvl="0"/>
            <a:r>
              <a:rPr lang="es-ES" sz="1200" b="1" kern="1200" dirty="0" smtClean="0">
                <a:solidFill>
                  <a:schemeClr val="tx1"/>
                </a:solidFill>
                <a:effectLst/>
                <a:latin typeface="+mn-lt"/>
                <a:ea typeface="+mn-ea"/>
                <a:cs typeface="+mn-cs"/>
              </a:rPr>
              <a:t>Alimentación</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El estilo de alimentación puede ser una fuente de vida y también de enfermedad, el COVID-19 emergió en un mercado de venta y consumo de animales exóticos en Wuhan, China. Esta es la versión oficial hasta el momento, aunque no sólo el COVID - 19 emergió por el estilo de alimentación de los seres humanos, la historia es similar con la Gripe Aviar, la Gripe Porcina, H1N1. </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Generalmente los brotes de casos se presentan en quienes trabajan con aves de corral y/o cerdos especialmente los sujetos que se hallan expuestos intensamente a este tipo de animales, y tienen mayor riesgo de infección en caso de que éstos porten alguna cepa viral que también sea capaz de infectar humanos, Centers </a:t>
            </a:r>
            <a:r>
              <a:rPr lang="es-ES" sz="1200" kern="1200" dirty="0" err="1" smtClean="0">
                <a:solidFill>
                  <a:schemeClr val="tx1"/>
                </a:solidFill>
                <a:effectLst/>
                <a:latin typeface="+mn-lt"/>
                <a:ea typeface="+mn-ea"/>
                <a:cs typeface="+mn-cs"/>
              </a:rPr>
              <a:t>for</a:t>
            </a:r>
            <a:r>
              <a:rPr lang="es-ES" sz="1200" kern="1200" dirty="0" smtClean="0">
                <a:solidFill>
                  <a:schemeClr val="tx1"/>
                </a:solidFill>
                <a:effectLst/>
                <a:latin typeface="+mn-lt"/>
                <a:ea typeface="+mn-ea"/>
                <a:cs typeface="+mn-cs"/>
              </a:rPr>
              <a:t> </a:t>
            </a:r>
            <a:r>
              <a:rPr lang="es-ES" sz="1200" kern="1200" dirty="0" err="1" smtClean="0">
                <a:solidFill>
                  <a:schemeClr val="tx1"/>
                </a:solidFill>
                <a:effectLst/>
                <a:latin typeface="+mn-lt"/>
                <a:ea typeface="+mn-ea"/>
                <a:cs typeface="+mn-cs"/>
              </a:rPr>
              <a:t>Disease</a:t>
            </a:r>
            <a:r>
              <a:rPr lang="es-ES" sz="1200" kern="1200" dirty="0" smtClean="0">
                <a:solidFill>
                  <a:schemeClr val="tx1"/>
                </a:solidFill>
                <a:effectLst/>
                <a:latin typeface="+mn-lt"/>
                <a:ea typeface="+mn-ea"/>
                <a:cs typeface="+mn-cs"/>
              </a:rPr>
              <a:t> Control and </a:t>
            </a:r>
            <a:r>
              <a:rPr lang="es-ES" sz="1200" kern="1200" dirty="0" err="1" smtClean="0">
                <a:solidFill>
                  <a:schemeClr val="tx1"/>
                </a:solidFill>
                <a:effectLst/>
                <a:latin typeface="+mn-lt"/>
                <a:ea typeface="+mn-ea"/>
                <a:cs typeface="+mn-cs"/>
              </a:rPr>
              <a:t>Prevention</a:t>
            </a:r>
            <a:r>
              <a:rPr lang="es-ES" sz="1200" kern="1200" dirty="0" smtClean="0">
                <a:solidFill>
                  <a:schemeClr val="tx1"/>
                </a:solidFill>
                <a:effectLst/>
                <a:latin typeface="+mn-lt"/>
                <a:ea typeface="+mn-ea"/>
                <a:cs typeface="+mn-cs"/>
              </a:rPr>
              <a:t> (CDC, 2020). </a:t>
            </a:r>
            <a:endParaRPr lang="es-CL" sz="1200" kern="1200" dirty="0" smtClean="0">
              <a:solidFill>
                <a:schemeClr val="tx1"/>
              </a:solidFill>
              <a:effectLst/>
              <a:latin typeface="+mn-lt"/>
              <a:ea typeface="+mn-ea"/>
              <a:cs typeface="+mn-cs"/>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Las gripes estacionales, son virus que mutaron con la capacidad de traspasarse a humanos y ha sido el estilo de alimentación de las personas, el factor de riesgo que nos ha expuesto a estas pandemias. De ahí en adelante, estos virus continúan mutando y han transitado por el planeta durante todo el siglo XX y XXI de manera estacional. Plantear el cambio de la dieta global, por una que no nos exponga a tantos riesgos es un desafío enorme, principalmente porque la alimentación en el ser humano, no sólo cumple una función biológica, sino que también está estrechamente relacionada con los hábitos de vida, la cultura y la sociedad.  </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Las enfermedades por el estilo de vida y alimentación de la humanidad podrían no desaparecer nunca, frente a lo cual es importante que las personas se alimenten equilibradamente, ya que el correcto funcionamiento del cuerpo y particularmente del sistema inmunológico, dependen de una alimentación balanceada que entregue los nutrientes necesarios para que todo el organismo pueda estar en un óptimo nivel.  </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En la acelerada y acontecida vida actual, lo hábitos alimentarios saludables pueden verse fácilmente desplazados por el día a día, el poco tiempo, las tensiones emocionales, falta de recursos y en este punto particular de la historia; por el estrés de la pandemia.</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Será recurrente en algunas personas tener más o menos apetito del habitual, sentir ganas de comer cosas dulces, o buscar comidas ricas en grasas, ya que la situación de estrés que vivimos pone todo nuestro sistema en alerta y cuando esto se prolonga en el tiempo hay un gasto energético mayor. Cuando las personas perciben amenazas su cerebro comienza a producir más cantidades de Cortisol y es importante mantener una dieta balanceada para asegurar al organismo y al sistema inmunológico lo necesario para funcionar óptimamente.  Aquí algunas recomendaciones de alimentación saludable de la OM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Limitar el consumo de alimentos y bebidas con alto contenido de azúcares, por ejemplo, aperitivos y bebidas azucarados y golosinas (o sea, todos los tipos de bebidas que contienen azúcares libres, incluidos refrescos con o sin gas; zumos y bebidas de frutas o verduras; concentrados líquidos y en polvo; agua aromatizada; bebidas energéticas e isotónicas; té y café listos para beber; y bebidas lácteas aromatizadas); y comer, como tentempiés, frutas y verduras crudas en vez de productos azucarados, en este sentido limitar el consumo de azúcar libre a menos del 10% de la ingesta calórica total (2, 7) forma parte de una dieta saludable. Para obtener mayores beneficios se recomienda reducir su consumo a menos del 5% de la ingesta calórica total</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Una dieta saludable ayuda a protegernos de la malnutrición en todas sus formas, así como de las enfermedades no transmisibles, entre ellas la diabetes, las cardiopatías, los accidentes cerebrovasculares y el cáncer.</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En todo el mundo, las dietas insalubres y la falta de actividad física están entre los principales factores de riesgo para la salud.</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Menos del 10% de la ingesta calórica total de azúcares libres (2, 7), que equivale a 50 gramos (o unas 12 cucharaditas rasas) en el caso de una persona con un peso corporal saludable que consuma aproximadamente 2000 calorías al día, aunque para obtener beneficios de salud adicionales lo ideal sería un consumo inferior al 5% de la ingesta calórica total (7). Los azúcares libres son todos aquellos que los fabricantes, cocineros o consumidores añaden a los alimentos o las bebidas, así como los azúcares naturalmente presentes en la miel, los jarabes y los zumos y concentrados de fruta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Comer al menos 400 g, o cinco porciones de frutas y verduras al día reduce el riesgo de desarrollar enfermedades no transmisibles y ayuda a garantizar una ingesta diaria suficiente de fibra dietética.</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Para mejorar el consumo de frutas y verduras es recomendable:</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incluir verduras en todas las comida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como tentempiés, comer frutas frescas y verduras cruda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comer frutas y verduras frescas de temporada; y</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comer una selección variada de frutas y verdura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Grasas: </a:t>
            </a:r>
            <a:r>
              <a:rPr lang="es-ES" sz="1200" kern="1200" dirty="0" smtClean="0">
                <a:solidFill>
                  <a:schemeClr val="tx1"/>
                </a:solidFill>
                <a:effectLst/>
                <a:latin typeface="+mn-lt"/>
                <a:ea typeface="+mn-ea"/>
                <a:cs typeface="+mn-cs"/>
              </a:rPr>
              <a:t>Reducir el consumo total de grasa a menos del 30% de la ingesta calórica diaria contribuye a prevenir el aumento insalubre de peso entre la población adulta (Hopper, 2015). </a:t>
            </a:r>
            <a:r>
              <a:rPr lang="es-CL" sz="1200" kern="1200" dirty="0" smtClean="0">
                <a:solidFill>
                  <a:schemeClr val="tx1"/>
                </a:solidFill>
                <a:effectLst/>
                <a:latin typeface="+mn-lt"/>
                <a:ea typeface="+mn-ea"/>
                <a:cs typeface="+mn-cs"/>
              </a:rPr>
              <a:t> </a:t>
            </a:r>
            <a:r>
              <a:rPr lang="es-ES" sz="1200" kern="1200" dirty="0" smtClean="0">
                <a:solidFill>
                  <a:schemeClr val="tx1"/>
                </a:solidFill>
                <a:effectLst/>
                <a:latin typeface="+mn-lt"/>
                <a:ea typeface="+mn-ea"/>
                <a:cs typeface="+mn-cs"/>
              </a:rPr>
              <a:t>Además, para reducir el riesgo de desarrollar enfermedades no transmisibles es preciso: </a:t>
            </a:r>
            <a:r>
              <a:rPr lang="es-CL" sz="1200" kern="1200" dirty="0" smtClean="0">
                <a:solidFill>
                  <a:schemeClr val="tx1"/>
                </a:solidFill>
                <a:effectLst/>
                <a:latin typeface="+mn-lt"/>
                <a:ea typeface="+mn-ea"/>
                <a:cs typeface="+mn-cs"/>
              </a:rPr>
              <a:t> </a:t>
            </a:r>
            <a:r>
              <a:rPr lang="es-ES" sz="1200" kern="1200" dirty="0" smtClean="0">
                <a:solidFill>
                  <a:schemeClr val="tx1"/>
                </a:solidFill>
                <a:effectLst/>
                <a:latin typeface="+mn-lt"/>
                <a:ea typeface="+mn-ea"/>
                <a:cs typeface="+mn-cs"/>
              </a:rPr>
              <a:t>limitar el consumo de grasas saturadas a menos del 10% de la ingesta calórica diaria; </a:t>
            </a:r>
            <a:r>
              <a:rPr lang="es-CL" sz="1200" kern="1200" dirty="0" smtClean="0">
                <a:solidFill>
                  <a:schemeClr val="tx1"/>
                </a:solidFill>
                <a:effectLst/>
                <a:latin typeface="+mn-lt"/>
                <a:ea typeface="+mn-ea"/>
                <a:cs typeface="+mn-cs"/>
              </a:rPr>
              <a:t>limitar</a:t>
            </a:r>
            <a:r>
              <a:rPr lang="es-ES" sz="1200" kern="1200" dirty="0" smtClean="0">
                <a:solidFill>
                  <a:schemeClr val="tx1"/>
                </a:solidFill>
                <a:effectLst/>
                <a:latin typeface="+mn-lt"/>
                <a:ea typeface="+mn-ea"/>
                <a:cs typeface="+mn-cs"/>
              </a:rPr>
              <a:t> el consumo de grasas </a:t>
            </a:r>
            <a:r>
              <a:rPr lang="es-ES" sz="1200" kern="1200" dirty="0" err="1" smtClean="0">
                <a:solidFill>
                  <a:schemeClr val="tx1"/>
                </a:solidFill>
                <a:effectLst/>
                <a:latin typeface="+mn-lt"/>
                <a:ea typeface="+mn-ea"/>
                <a:cs typeface="+mn-cs"/>
              </a:rPr>
              <a:t>trans</a:t>
            </a:r>
            <a:r>
              <a:rPr lang="es-ES" sz="1200" kern="1200" dirty="0" smtClean="0">
                <a:solidFill>
                  <a:schemeClr val="tx1"/>
                </a:solidFill>
                <a:effectLst/>
                <a:latin typeface="+mn-lt"/>
                <a:ea typeface="+mn-ea"/>
                <a:cs typeface="+mn-cs"/>
              </a:rPr>
              <a:t> a menos del 1%; y sustituir las grasas saturadas y las grasas </a:t>
            </a:r>
            <a:r>
              <a:rPr lang="es-ES" sz="1200" kern="1200" dirty="0" err="1" smtClean="0">
                <a:solidFill>
                  <a:schemeClr val="tx1"/>
                </a:solidFill>
                <a:effectLst/>
                <a:latin typeface="+mn-lt"/>
                <a:ea typeface="+mn-ea"/>
                <a:cs typeface="+mn-cs"/>
              </a:rPr>
              <a:t>trans</a:t>
            </a:r>
            <a:r>
              <a:rPr lang="es-ES" sz="1200" kern="1200" dirty="0" smtClean="0">
                <a:solidFill>
                  <a:schemeClr val="tx1"/>
                </a:solidFill>
                <a:effectLst/>
                <a:latin typeface="+mn-lt"/>
                <a:ea typeface="+mn-ea"/>
                <a:cs typeface="+mn-cs"/>
              </a:rPr>
              <a:t> por grasas no saturadas (2, 3), en particular grasas poliinsaturadas.</a:t>
            </a:r>
            <a:r>
              <a:rPr lang="es-CL" sz="1200" kern="1200" dirty="0" smtClean="0">
                <a:solidFill>
                  <a:schemeClr val="tx1"/>
                </a:solidFill>
                <a:effectLst/>
                <a:latin typeface="+mn-lt"/>
                <a:ea typeface="+mn-ea"/>
                <a:cs typeface="+mn-cs"/>
              </a:rPr>
              <a:t> </a:t>
            </a:r>
            <a:r>
              <a:rPr lang="es-ES" sz="1200" kern="1200" dirty="0" smtClean="0">
                <a:solidFill>
                  <a:schemeClr val="tx1"/>
                </a:solidFill>
                <a:effectLst/>
                <a:latin typeface="+mn-lt"/>
                <a:ea typeface="+mn-ea"/>
                <a:cs typeface="+mn-cs"/>
              </a:rPr>
              <a:t>Para reducir la ingesta de grasas, especialmente las grasas saturadas y las grasas </a:t>
            </a:r>
            <a:r>
              <a:rPr lang="es-ES" sz="1200" kern="1200" dirty="0" err="1" smtClean="0">
                <a:solidFill>
                  <a:schemeClr val="tx1"/>
                </a:solidFill>
                <a:effectLst/>
                <a:latin typeface="+mn-lt"/>
                <a:ea typeface="+mn-ea"/>
                <a:cs typeface="+mn-cs"/>
              </a:rPr>
              <a:t>trans</a:t>
            </a:r>
            <a:r>
              <a:rPr lang="es-ES" sz="1200" kern="1200" dirty="0" smtClean="0">
                <a:solidFill>
                  <a:schemeClr val="tx1"/>
                </a:solidFill>
                <a:effectLst/>
                <a:latin typeface="+mn-lt"/>
                <a:ea typeface="+mn-ea"/>
                <a:cs typeface="+mn-cs"/>
              </a:rPr>
              <a:t> de producción industrial se puede:</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cocinar al vapor o hervir, en vez de freír;</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reemplazar la mantequilla, la manteca de cerdo y la mantequilla clarificada por aceites ricos en grasas poliinsaturadas, por ejemplo, los de soja, canola (colza), maíz, cártamo y girasol;</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ingerir productos lácteos desnatados y carnes magras, o quitar la grasa visible de la carne; y limitar el consumo de alimentos horneados o fritos, así como de aperitivos y alimentos envasados (por ejemplo, rosquillas, tortas, tartas, galletas, bizcochos y barquillos) que contengan grasas </a:t>
            </a:r>
            <a:r>
              <a:rPr lang="es-ES" sz="1200" kern="1200" dirty="0" err="1" smtClean="0">
                <a:solidFill>
                  <a:schemeClr val="tx1"/>
                </a:solidFill>
                <a:effectLst/>
                <a:latin typeface="+mn-lt"/>
                <a:ea typeface="+mn-ea"/>
                <a:cs typeface="+mn-cs"/>
              </a:rPr>
              <a:t>trans</a:t>
            </a:r>
            <a:r>
              <a:rPr lang="es-ES" sz="1200" kern="1200" dirty="0" smtClean="0">
                <a:solidFill>
                  <a:schemeClr val="tx1"/>
                </a:solidFill>
                <a:effectLst/>
                <a:latin typeface="+mn-lt"/>
                <a:ea typeface="+mn-ea"/>
                <a:cs typeface="+mn-cs"/>
              </a:rPr>
              <a:t> de producción industrial.</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b="1" kern="1200" dirty="0" smtClean="0">
                <a:solidFill>
                  <a:schemeClr val="tx1"/>
                </a:solidFill>
                <a:effectLst/>
                <a:latin typeface="+mn-lt"/>
                <a:ea typeface="+mn-ea"/>
                <a:cs typeface="+mn-cs"/>
              </a:rPr>
              <a:t>Ejercicio</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Para mantener un organismo saludable, además de una equilibrada alimentación es recomendable realizar actividad física o ejercicios. La OMS, se refiere diferenciadamente de ambos conceptos.</a:t>
            </a:r>
            <a:r>
              <a:rPr lang="es-CL" sz="1200" kern="1200" dirty="0" smtClean="0">
                <a:solidFill>
                  <a:schemeClr val="tx1"/>
                </a:solidFill>
                <a:effectLst/>
                <a:latin typeface="+mn-lt"/>
                <a:ea typeface="+mn-ea"/>
                <a:cs typeface="+mn-cs"/>
              </a:rPr>
              <a:t> </a:t>
            </a:r>
            <a:r>
              <a:rPr lang="es-ES" sz="1200" kern="1200" dirty="0" smtClean="0">
                <a:solidFill>
                  <a:schemeClr val="tx1"/>
                </a:solidFill>
                <a:effectLst/>
                <a:latin typeface="+mn-lt"/>
                <a:ea typeface="+mn-ea"/>
                <a:cs typeface="+mn-cs"/>
              </a:rPr>
              <a:t>La "actividad física" no debe confundirse con el "ejercicio". Éste es una variedad de actividad física planificada, estructurada, repetitiva y realizada con un objetivo relacionado con la mejora o el mantenimiento de uno o más componentes de la aptitud física. La actividad física abarca el ejercicio, pero también otras actividades que entrañan movimiento corporal y se realizan como parte de los momentos de juego, del trabajo, de formas de transporte activas, de las tareas domésticas y de actividades recreativa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Sea cual sea el caso y las posibilidades, mover el cuerpo es esencial, según la OMS se ha observado que la inactividad física es el cuarto factor de riesgo en lo que respecta a la mortalidad mundial (6% de las muertes registradas en todo el mundo). Además, se estima que la inactividad física es la causa principal de aproximadamente un 21%-25% de los cánceres de mama y de colon, el 27% de los casos de diabetes y aproximadamente el 30% de la carga de cardiopatía isquémica.</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Un nivel adecuado de actividad física regular en los adulto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Reduce el riesgo de hipertensión, cardiopatía coronaria, accidente cerebrovascular, diabetes, cáncer de mama y de colon, depresión y caídas;</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lvl="0" fontAlgn="base"/>
            <a:r>
              <a:rPr lang="es-ES" sz="1200" kern="1200" dirty="0" smtClean="0">
                <a:solidFill>
                  <a:schemeClr val="tx1"/>
                </a:solidFill>
                <a:effectLst/>
                <a:latin typeface="+mn-lt"/>
                <a:ea typeface="+mn-ea"/>
                <a:cs typeface="+mn-cs"/>
              </a:rPr>
              <a:t>Mejora la salud ósea y funcional, y</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Es un determinante clave del gasto energético, y es por tanto fundamental para el equilibrio calórico y el control del peso.</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En tiempos de cuarentena disminuye en forma considerable la actividad física diaria y aumenta el sedentarismo (actividades realizadas sentado o acostado) esto nos lleva a aumentar el riesgo mortalidad y distintas enfermedades tanto cardiovasculares y enfermedades crónicas no trasmisibles como resistencia a la insulina, diabetes mellitus2, Hipertensión arterial, obesidad, </a:t>
            </a:r>
            <a:r>
              <a:rPr lang="es-CL" sz="1200" kern="1200" dirty="0" err="1" smtClean="0">
                <a:solidFill>
                  <a:schemeClr val="tx1"/>
                </a:solidFill>
                <a:effectLst/>
                <a:latin typeface="+mn-lt"/>
                <a:ea typeface="+mn-ea"/>
                <a:cs typeface="+mn-cs"/>
              </a:rPr>
              <a:t>dislipidemia</a:t>
            </a:r>
            <a:r>
              <a:rPr lang="es-CL" sz="1200" kern="1200" dirty="0" smtClean="0">
                <a:solidFill>
                  <a:schemeClr val="tx1"/>
                </a:solidFill>
                <a:effectLst/>
                <a:latin typeface="+mn-lt"/>
                <a:ea typeface="+mn-ea"/>
                <a:cs typeface="+mn-cs"/>
              </a:rPr>
              <a:t>, síndrome metabólico; además aumenta el riesgo de desarrollar cáncer y alteraciones en la salud mental, aumentando el riesgo de trastornos de ansiedad, síndromes depresivos y disminución de la capacidad de concentración y atención; además la inactividad y el comportamiento sedentario, producen alteraciones en nuestra inmunidad, aumentando el riesgo de enfermedades infecciosas y descompensación de enfermedades autoinmunes. Para mantener una buena salud debemos contrarrestar la inactividad realizando al menos 30 minutos de actividad física moderada al día y disminuir nuestro tiempo sedentario a través de pausas activas.  </a:t>
            </a: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CL" sz="1200" kern="1200" dirty="0" smtClean="0">
                <a:solidFill>
                  <a:schemeClr val="tx1"/>
                </a:solidFill>
                <a:effectLst/>
                <a:latin typeface="+mn-lt"/>
                <a:ea typeface="+mn-ea"/>
                <a:cs typeface="+mn-cs"/>
              </a:rPr>
              <a:t>En tiempos de pandemia también tenemos que tomar precauciones cuando no se debe realizar ejercicio, estas consideraciones proponen de forma simple como podemos decidir hacer ejercicio o suspenderlo estando en casa. </a:t>
            </a:r>
          </a:p>
          <a:p>
            <a:pPr lvl="0" fontAlgn="base"/>
            <a:r>
              <a:rPr lang="es-CL" sz="1200" kern="1200" dirty="0" smtClean="0">
                <a:solidFill>
                  <a:schemeClr val="tx1"/>
                </a:solidFill>
                <a:effectLst/>
                <a:latin typeface="+mn-lt"/>
                <a:ea typeface="+mn-ea"/>
                <a:cs typeface="+mn-cs"/>
              </a:rPr>
              <a:t>En personas sanas o asintomáticas, se recomienda actividad física, al menos 150 minutos a la semana de intensidad moderada para optimizar el sistema inmune, idealmente en un lugar privado, con buena ventilación y con las precauciones necesarias en caso de vivir con otras personas. </a:t>
            </a:r>
          </a:p>
          <a:p>
            <a:pPr lvl="0" fontAlgn="base"/>
            <a:r>
              <a:rPr lang="es-CL" sz="1200" kern="1200" dirty="0" smtClean="0">
                <a:solidFill>
                  <a:schemeClr val="tx1"/>
                </a:solidFill>
                <a:effectLst/>
                <a:latin typeface="+mn-lt"/>
                <a:ea typeface="+mn-ea"/>
                <a:cs typeface="+mn-cs"/>
              </a:rPr>
              <a:t>En caso de síntomas respiratorios altos como dolor de garganta, oídos y congestión nasal sin otros síntomas asociados, se propone la prueba de “trote por 10 minutos” que consiste en trotar en el lugar y evaluar evolución de los síntomas, si esto no genera problemas se puede realizar ejercicio de intensidad moderada; si los síntomas empeoran u ocurre un deterioro del estado general se debe SUSPENDER el ejercicio hasta la recuperación. </a:t>
            </a:r>
          </a:p>
          <a:p>
            <a:pPr lvl="0" fontAlgn="base"/>
            <a:r>
              <a:rPr lang="es-CL" sz="1200" kern="1200" dirty="0" smtClean="0">
                <a:solidFill>
                  <a:schemeClr val="tx1"/>
                </a:solidFill>
                <a:effectLst/>
                <a:latin typeface="+mn-lt"/>
                <a:ea typeface="+mn-ea"/>
                <a:cs typeface="+mn-cs"/>
              </a:rPr>
              <a:t>En caso de haber síntomas generales, mialgias, compromiso respiratorio, síntomas gastrointestinales y principalmente fiebre NO se debe realizar ejercicio hasta la recuperación. </a:t>
            </a:r>
          </a:p>
          <a:p>
            <a:pPr lvl="0" fontAlgn="base"/>
            <a:r>
              <a:rPr lang="es-CL" sz="1200" kern="1200" dirty="0" smtClean="0">
                <a:solidFill>
                  <a:schemeClr val="tx1"/>
                </a:solidFill>
                <a:effectLst/>
                <a:latin typeface="+mn-lt"/>
                <a:ea typeface="+mn-ea"/>
                <a:cs typeface="+mn-cs"/>
              </a:rPr>
              <a:t>Se ha visto que la infección por COVID puede presentar un empeoramiento de los síntomas incluso una semana después de iniciado los síntomas, por lo que los períodos de recuperación serán mayores que otras enfermedades infecciosas. Las recomendaciones en este momento van de 7 a 10 días después del cese de los síntomas para realizar ejercicio moderado sin riesgos. </a:t>
            </a:r>
          </a:p>
          <a:p>
            <a:pPr lvl="0" fontAlgn="base"/>
            <a:r>
              <a:rPr lang="es-CL" sz="1200" kern="1200" dirty="0" smtClean="0">
                <a:solidFill>
                  <a:schemeClr val="tx1"/>
                </a:solidFill>
                <a:effectLst/>
                <a:latin typeface="+mn-lt"/>
                <a:ea typeface="+mn-ea"/>
                <a:cs typeface="+mn-cs"/>
              </a:rPr>
              <a:t>A demás durante la práctica del ejercicio pueden aparecer síntomas que son indicativos que debemos cesar el ejercicio y muchas veces consultar a un médico, como desmayo o síncope relacionado al ejercicio, mareos, dolor torácico, palpitaciones o disnea realizando ejercicio. A demás el dolor, sobre todo agudo y edema de los músculos son signos que puede haber una lesión o complicación relacionada con el ejercicio. </a:t>
            </a: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b="1" kern="1200" dirty="0" smtClean="0">
                <a:solidFill>
                  <a:schemeClr val="tx1"/>
                </a:solidFill>
                <a:effectLst/>
                <a:latin typeface="+mn-lt"/>
                <a:ea typeface="+mn-ea"/>
                <a:cs typeface="+mn-cs"/>
              </a:rPr>
              <a:t>Placer</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Como se ha mencionado, el estrés que las personas están viviendo durante la pandemia, al prolongarse en el tiempo, provocará efectos negativos en la salud mental. Una forma de contrarrestar estos efectos negativos es activando en nuestro cerebro las zonas que interactúan con el placer. </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Cómo? No hace falta gran evidencia para corroborar la satisfacción que las personas sienten luego de practicar alguna actividad que disfruten; actividad física, lectura, sexo, comer tu plato favorito, pintar, escribir, reparar cosas de tu hogar, embellecer tu jardín, jugar con tus hijos, etc. esa sensación de satisfacción y plenitud que recorre tu cuerpo y mente cuando has disfrutado de esa rica experiencia que tú mismo te proveíste, es precisamente el espacio que puede ayudarte a soportar la tensión actual de mejor forma. </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Durante el confinamiento habrá muchas actividades que podrían tener tu mente y tiempo ocupado, como el trabajo, los que </a:t>
            </a:r>
            <a:r>
              <a:rPr lang="es-ES" sz="1200" kern="1200" dirty="0" err="1" smtClean="0">
                <a:solidFill>
                  <a:schemeClr val="tx1"/>
                </a:solidFill>
                <a:effectLst/>
                <a:latin typeface="+mn-lt"/>
                <a:ea typeface="+mn-ea"/>
                <a:cs typeface="+mn-cs"/>
              </a:rPr>
              <a:t>haceres</a:t>
            </a:r>
            <a:r>
              <a:rPr lang="es-ES" sz="1200" kern="1200" dirty="0" smtClean="0">
                <a:solidFill>
                  <a:schemeClr val="tx1"/>
                </a:solidFill>
                <a:effectLst/>
                <a:latin typeface="+mn-lt"/>
                <a:ea typeface="+mn-ea"/>
                <a:cs typeface="+mn-cs"/>
              </a:rPr>
              <a:t> domésticos, el cuidado de alguien más, sin embargo, es necesario que planifiques y destines tiempo en tu agenda a momentos que te conecten con el placer, ya que eso te hará vivir buenos momentos. </a:t>
            </a:r>
            <a:endParaRPr lang="es-CL" sz="1200" kern="1200" dirty="0" smtClean="0">
              <a:solidFill>
                <a:schemeClr val="tx1"/>
              </a:solidFill>
              <a:effectLst/>
              <a:latin typeface="+mn-lt"/>
              <a:ea typeface="+mn-ea"/>
              <a:cs typeface="+mn-cs"/>
            </a:endParaRPr>
          </a:p>
          <a:p>
            <a:pPr fontAlgn="base"/>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Dopamina y placer: La dopamina suele asociarse con el sistema del placer del </a:t>
            </a:r>
            <a:r>
              <a:rPr lang="es-ES" sz="1200" u="none" strike="noStrike" kern="1200" dirty="0" smtClean="0">
                <a:solidFill>
                  <a:schemeClr val="tx1"/>
                </a:solidFill>
                <a:effectLst/>
                <a:latin typeface="+mn-lt"/>
                <a:ea typeface="+mn-ea"/>
                <a:cs typeface="+mn-cs"/>
                <a:hlinkClick r:id="rId3"/>
              </a:rPr>
              <a:t>cerebro</a:t>
            </a:r>
            <a:r>
              <a:rPr lang="es-ES" sz="1200" kern="1200" dirty="0" smtClean="0">
                <a:solidFill>
                  <a:schemeClr val="tx1"/>
                </a:solidFill>
                <a:effectLst/>
                <a:latin typeface="+mn-lt"/>
                <a:ea typeface="+mn-ea"/>
                <a:cs typeface="+mn-cs"/>
              </a:rPr>
              <a:t>, suministrando los sentimientos de gozo y refuerzo para motivar a una persona de manera proactiva, a fin de que realice ciertas actividades. La dopamina se libera desde neuronas situadas en el </a:t>
            </a:r>
            <a:r>
              <a:rPr lang="es-ES" sz="1200" u="none" strike="noStrike" kern="1200" dirty="0" smtClean="0">
                <a:solidFill>
                  <a:schemeClr val="tx1"/>
                </a:solidFill>
                <a:effectLst/>
                <a:latin typeface="+mn-lt"/>
                <a:ea typeface="+mn-ea"/>
                <a:cs typeface="+mn-cs"/>
                <a:hlinkClick r:id="rId4"/>
              </a:rPr>
              <a:t>área </a:t>
            </a:r>
            <a:r>
              <a:rPr lang="es-ES" sz="1200" u="none" strike="noStrike" kern="1200" dirty="0" err="1" smtClean="0">
                <a:solidFill>
                  <a:schemeClr val="tx1"/>
                </a:solidFill>
                <a:effectLst/>
                <a:latin typeface="+mn-lt"/>
                <a:ea typeface="+mn-ea"/>
                <a:cs typeface="+mn-cs"/>
                <a:hlinkClick r:id="rId4"/>
              </a:rPr>
              <a:t>tegmental</a:t>
            </a:r>
            <a:r>
              <a:rPr lang="es-ES" sz="1200" u="none" strike="noStrike" kern="1200" dirty="0" smtClean="0">
                <a:solidFill>
                  <a:schemeClr val="tx1"/>
                </a:solidFill>
                <a:effectLst/>
                <a:latin typeface="+mn-lt"/>
                <a:ea typeface="+mn-ea"/>
                <a:cs typeface="+mn-cs"/>
                <a:hlinkClick r:id="rId4"/>
              </a:rPr>
              <a:t> ventral</a:t>
            </a:r>
            <a:r>
              <a:rPr lang="es-ES" sz="1200" kern="1200" dirty="0" smtClean="0">
                <a:solidFill>
                  <a:schemeClr val="tx1"/>
                </a:solidFill>
                <a:effectLst/>
                <a:latin typeface="+mn-lt"/>
                <a:ea typeface="+mn-ea"/>
                <a:cs typeface="+mn-cs"/>
              </a:rPr>
              <a:t> (ATV) hasta estructuras como el </a:t>
            </a:r>
            <a:r>
              <a:rPr lang="es-ES" sz="1200" u="none" strike="noStrike" kern="1200" dirty="0" smtClean="0">
                <a:solidFill>
                  <a:schemeClr val="tx1"/>
                </a:solidFill>
                <a:effectLst/>
                <a:latin typeface="+mn-lt"/>
                <a:ea typeface="+mn-ea"/>
                <a:cs typeface="+mn-cs"/>
                <a:hlinkClick r:id="rId5"/>
              </a:rPr>
              <a:t>núcleo </a:t>
            </a:r>
            <a:r>
              <a:rPr lang="es-ES" sz="1200" u="none" strike="noStrike" kern="1200" dirty="0" err="1" smtClean="0">
                <a:solidFill>
                  <a:schemeClr val="tx1"/>
                </a:solidFill>
                <a:effectLst/>
                <a:latin typeface="+mn-lt"/>
                <a:ea typeface="+mn-ea"/>
                <a:cs typeface="+mn-cs"/>
                <a:hlinkClick r:id="rId5"/>
              </a:rPr>
              <a:t>accumbens</a:t>
            </a:r>
            <a:r>
              <a:rPr lang="es-ES" sz="1200" kern="1200" dirty="0" smtClean="0">
                <a:solidFill>
                  <a:schemeClr val="tx1"/>
                </a:solidFill>
                <a:effectLst/>
                <a:latin typeface="+mn-lt"/>
                <a:ea typeface="+mn-ea"/>
                <a:cs typeface="+mn-cs"/>
              </a:rPr>
              <a:t>, la </a:t>
            </a:r>
            <a:r>
              <a:rPr lang="es-ES" sz="1200" u="none" strike="noStrike" kern="1200" dirty="0" smtClean="0">
                <a:solidFill>
                  <a:schemeClr val="tx1"/>
                </a:solidFill>
                <a:effectLst/>
                <a:latin typeface="+mn-lt"/>
                <a:ea typeface="+mn-ea"/>
                <a:cs typeface="+mn-cs"/>
                <a:hlinkClick r:id="rId6"/>
              </a:rPr>
              <a:t>amígdala</a:t>
            </a:r>
            <a:r>
              <a:rPr lang="es-ES" sz="1200" kern="1200" dirty="0" smtClean="0">
                <a:solidFill>
                  <a:schemeClr val="tx1"/>
                </a:solidFill>
                <a:effectLst/>
                <a:latin typeface="+mn-lt"/>
                <a:ea typeface="+mn-ea"/>
                <a:cs typeface="+mn-cs"/>
              </a:rPr>
              <a:t>, el </a:t>
            </a:r>
            <a:r>
              <a:rPr lang="es-ES" sz="1200" u="none" strike="noStrike" kern="1200" dirty="0" smtClean="0">
                <a:solidFill>
                  <a:schemeClr val="tx1"/>
                </a:solidFill>
                <a:effectLst/>
                <a:latin typeface="+mn-lt"/>
                <a:ea typeface="+mn-ea"/>
                <a:cs typeface="+mn-cs"/>
                <a:hlinkClick r:id="rId7"/>
              </a:rPr>
              <a:t>área </a:t>
            </a:r>
            <a:r>
              <a:rPr lang="es-ES" sz="1200" u="none" strike="noStrike" kern="1200" dirty="0" err="1" smtClean="0">
                <a:solidFill>
                  <a:schemeClr val="tx1"/>
                </a:solidFill>
                <a:effectLst/>
                <a:latin typeface="+mn-lt"/>
                <a:ea typeface="+mn-ea"/>
                <a:cs typeface="+mn-cs"/>
                <a:hlinkClick r:id="rId7"/>
              </a:rPr>
              <a:t>septal</a:t>
            </a:r>
            <a:r>
              <a:rPr lang="es-ES" sz="1200" u="none" strike="noStrike" kern="1200" dirty="0" smtClean="0">
                <a:solidFill>
                  <a:schemeClr val="tx1"/>
                </a:solidFill>
                <a:effectLst/>
                <a:latin typeface="+mn-lt"/>
                <a:ea typeface="+mn-ea"/>
                <a:cs typeface="+mn-cs"/>
                <a:hlinkClick r:id="rId7"/>
              </a:rPr>
              <a:t> lateral</a:t>
            </a:r>
            <a:r>
              <a:rPr lang="es-ES" sz="1200" kern="1200" dirty="0" smtClean="0">
                <a:solidFill>
                  <a:schemeClr val="tx1"/>
                </a:solidFill>
                <a:effectLst/>
                <a:latin typeface="+mn-lt"/>
                <a:ea typeface="+mn-ea"/>
                <a:cs typeface="+mn-cs"/>
              </a:rPr>
              <a:t>, el </a:t>
            </a:r>
            <a:r>
              <a:rPr lang="es-ES" sz="1200" u="none" strike="noStrike" kern="1200" dirty="0" smtClean="0">
                <a:solidFill>
                  <a:schemeClr val="tx1"/>
                </a:solidFill>
                <a:effectLst/>
                <a:latin typeface="+mn-lt"/>
                <a:ea typeface="+mn-ea"/>
                <a:cs typeface="+mn-cs"/>
                <a:hlinkClick r:id="rId8"/>
              </a:rPr>
              <a:t>núcleo olfatorio anterior</a:t>
            </a:r>
            <a:r>
              <a:rPr lang="es-ES" sz="1200" kern="1200" dirty="0" smtClean="0">
                <a:solidFill>
                  <a:schemeClr val="tx1"/>
                </a:solidFill>
                <a:effectLst/>
                <a:latin typeface="+mn-lt"/>
                <a:ea typeface="+mn-ea"/>
                <a:cs typeface="+mn-cs"/>
              </a:rPr>
              <a:t>, el </a:t>
            </a:r>
            <a:r>
              <a:rPr lang="es-ES" sz="1200" u="none" strike="noStrike" kern="1200" dirty="0" smtClean="0">
                <a:solidFill>
                  <a:schemeClr val="tx1"/>
                </a:solidFill>
                <a:effectLst/>
                <a:latin typeface="+mn-lt"/>
                <a:ea typeface="+mn-ea"/>
                <a:cs typeface="+mn-cs"/>
                <a:hlinkClick r:id="rId9"/>
              </a:rPr>
              <a:t>tubérculo olfatorio</a:t>
            </a:r>
            <a:r>
              <a:rPr lang="es-ES" sz="1200" kern="1200" dirty="0" smtClean="0">
                <a:solidFill>
                  <a:schemeClr val="tx1"/>
                </a:solidFill>
                <a:effectLst/>
                <a:latin typeface="+mn-lt"/>
                <a:ea typeface="+mn-ea"/>
                <a:cs typeface="+mn-cs"/>
              </a:rPr>
              <a:t> y el </a:t>
            </a:r>
            <a:r>
              <a:rPr lang="es-ES" sz="1200" u="none" strike="noStrike" kern="1200" dirty="0" err="1" smtClean="0">
                <a:solidFill>
                  <a:schemeClr val="tx1"/>
                </a:solidFill>
                <a:effectLst/>
                <a:latin typeface="+mn-lt"/>
                <a:ea typeface="+mn-ea"/>
                <a:cs typeface="+mn-cs"/>
                <a:hlinkClick r:id="rId10"/>
              </a:rPr>
              <a:t>neocórtex</a:t>
            </a:r>
            <a:r>
              <a:rPr lang="es-ES" sz="1200" kern="1200" dirty="0" smtClean="0">
                <a:solidFill>
                  <a:schemeClr val="tx1"/>
                </a:solidFill>
                <a:effectLst/>
                <a:latin typeface="+mn-lt"/>
                <a:ea typeface="+mn-ea"/>
                <a:cs typeface="+mn-cs"/>
              </a:rPr>
              <a:t> mediante las proyecciones que tiene el ATV sobre estas estructuras. Participa en experiencias naturalmente </a:t>
            </a:r>
            <a:r>
              <a:rPr lang="es-ES" sz="1200" kern="1200" dirty="0" err="1" smtClean="0">
                <a:solidFill>
                  <a:schemeClr val="tx1"/>
                </a:solidFill>
                <a:effectLst/>
                <a:latin typeface="+mn-lt"/>
                <a:ea typeface="+mn-ea"/>
                <a:cs typeface="+mn-cs"/>
              </a:rPr>
              <a:t>recompensantes</a:t>
            </a:r>
            <a:r>
              <a:rPr lang="es-ES" sz="1200" kern="1200" dirty="0" smtClean="0">
                <a:solidFill>
                  <a:schemeClr val="tx1"/>
                </a:solidFill>
                <a:effectLst/>
                <a:latin typeface="+mn-lt"/>
                <a:ea typeface="+mn-ea"/>
                <a:cs typeface="+mn-cs"/>
              </a:rPr>
              <a:t> tales como la alimentación, el sexo, y otras (Giuliano, 2001).</a:t>
            </a:r>
            <a:r>
              <a:rPr lang="es-CL" sz="1200" kern="1200" dirty="0" smtClean="0">
                <a:solidFill>
                  <a:schemeClr val="tx1"/>
                </a:solidFill>
                <a:effectLst/>
                <a:latin typeface="+mn-lt"/>
                <a:ea typeface="+mn-ea"/>
                <a:cs typeface="+mn-cs"/>
              </a:rPr>
              <a:t> </a:t>
            </a:r>
            <a:endParaRPr lang="es-CL" sz="1200" kern="1200" dirty="0" smtClean="0">
              <a:solidFill>
                <a:schemeClr val="tx1"/>
              </a:solidFill>
              <a:effectLst/>
              <a:latin typeface="+mn-lt"/>
              <a:cs typeface="Calibri"/>
            </a:endParaRPr>
          </a:p>
          <a:p>
            <a:pPr fontAlgn="base"/>
            <a:r>
              <a:rPr lang="es-ES" sz="1200" kern="1200" dirty="0" smtClean="0">
                <a:solidFill>
                  <a:schemeClr val="tx1"/>
                </a:solidFill>
                <a:effectLst/>
                <a:latin typeface="+mn-lt"/>
                <a:ea typeface="+mn-ea"/>
                <a:cs typeface="+mn-cs"/>
              </a:rPr>
              <a:t>Es importante promover una actitud proactiva en la búsqueda de actividades placenteras, ya que si las personas no planifican ni destinan tiempo para ellas, difícilmente encontrarán momentos en su día a día para realizarlas. </a:t>
            </a:r>
          </a:p>
          <a:p>
            <a:pPr fontAlgn="base"/>
            <a:r>
              <a:rPr lang="es-ES" sz="1200" b="1" kern="1200" dirty="0" smtClean="0">
                <a:solidFill>
                  <a:schemeClr val="tx1"/>
                </a:solidFill>
                <a:effectLst/>
                <a:latin typeface="+mn-lt"/>
                <a:ea typeface="+mn-ea"/>
                <a:cs typeface="+mn-cs"/>
              </a:rPr>
              <a:t>DORMIR</a:t>
            </a:r>
          </a:p>
          <a:p>
            <a:r>
              <a:rPr lang="es-ES" sz="1200" kern="1200" dirty="0" smtClean="0">
                <a:solidFill>
                  <a:schemeClr val="tx1"/>
                </a:solidFill>
                <a:effectLst/>
                <a:latin typeface="+mn-lt"/>
                <a:ea typeface="+mn-ea"/>
                <a:cs typeface="+mn-cs"/>
              </a:rPr>
              <a:t>El insomnio es una queja frecuente en personas con síntomas ansiosos o depresivos, y sabemos que es una de las molestias referidas por las investigaciones actuales respecto a la pandemia COVID-19. </a:t>
            </a:r>
            <a:r>
              <a:rPr lang="es-CL" sz="1200" kern="1200" dirty="0" smtClean="0">
                <a:solidFill>
                  <a:schemeClr val="tx1"/>
                </a:solidFill>
                <a:effectLst/>
                <a:latin typeface="+mn-lt"/>
                <a:ea typeface="+mn-ea"/>
                <a:cs typeface="+mn-cs"/>
              </a:rPr>
              <a:t>Algunas</a:t>
            </a:r>
            <a:r>
              <a:rPr lang="es-ES" sz="1200" kern="1200" dirty="0" smtClean="0">
                <a:solidFill>
                  <a:schemeClr val="tx1"/>
                </a:solidFill>
                <a:effectLst/>
                <a:latin typeface="+mn-lt"/>
                <a:ea typeface="+mn-ea"/>
                <a:cs typeface="+mn-cs"/>
              </a:rPr>
              <a:t> reglas higiénicas para mejorar la calidad del sueño que nos entrega </a:t>
            </a:r>
            <a:r>
              <a:rPr lang="es-ES" sz="1200" kern="1200" dirty="0" err="1" smtClean="0">
                <a:solidFill>
                  <a:schemeClr val="tx1"/>
                </a:solidFill>
                <a:effectLst/>
                <a:latin typeface="+mn-lt"/>
                <a:ea typeface="+mn-ea"/>
                <a:cs typeface="+mn-cs"/>
              </a:rPr>
              <a:t>Zarranz</a:t>
            </a:r>
            <a:r>
              <a:rPr lang="es-ES" sz="1200" kern="1200" dirty="0" smtClean="0">
                <a:solidFill>
                  <a:schemeClr val="tx1"/>
                </a:solidFill>
                <a:effectLst/>
                <a:latin typeface="+mn-lt"/>
                <a:ea typeface="+mn-ea"/>
                <a:cs typeface="+mn-cs"/>
              </a:rPr>
              <a:t> (2018), Universidad de Talca (2020) y </a:t>
            </a:r>
            <a:r>
              <a:rPr lang="es-ES" sz="1200" kern="1200" dirty="0" err="1" smtClean="0">
                <a:solidFill>
                  <a:schemeClr val="tx1"/>
                </a:solidFill>
                <a:effectLst/>
                <a:latin typeface="+mn-lt"/>
                <a:ea typeface="+mn-ea"/>
                <a:cs typeface="+mn-cs"/>
              </a:rPr>
              <a:t>Rottapel</a:t>
            </a:r>
            <a:r>
              <a:rPr lang="es-ES" sz="1200" kern="1200" dirty="0" smtClean="0">
                <a:solidFill>
                  <a:schemeClr val="tx1"/>
                </a:solidFill>
                <a:effectLst/>
                <a:latin typeface="+mn-lt"/>
                <a:ea typeface="+mn-ea"/>
                <a:cs typeface="+mn-cs"/>
              </a:rPr>
              <a:t> (2019) son:</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Bajar las </a:t>
            </a:r>
            <a:r>
              <a:rPr lang="es-ES" sz="1200" b="1" kern="1200" dirty="0" smtClean="0">
                <a:solidFill>
                  <a:schemeClr val="tx1"/>
                </a:solidFill>
                <a:effectLst/>
                <a:latin typeface="+mn-lt"/>
                <a:ea typeface="+mn-ea"/>
                <a:cs typeface="+mn-cs"/>
              </a:rPr>
              <a:t>expectativas</a:t>
            </a:r>
            <a:r>
              <a:rPr lang="es-ES" sz="1200" kern="1200" dirty="0" smtClean="0">
                <a:solidFill>
                  <a:schemeClr val="tx1"/>
                </a:solidFill>
                <a:effectLst/>
                <a:latin typeface="+mn-lt"/>
                <a:ea typeface="+mn-ea"/>
                <a:cs typeface="+mn-cs"/>
              </a:rPr>
              <a:t> del dormir, si ya sabe que le cuesta dormir, ponerse a pensar en ello cuando obscurece no lo ayudará. Intente seguir con sus actividades y distraerse. Si no puedes conciliar el sueño, especialmente si es por preocupaciones que no se quitan de su cabeza, es importante no quedarse en la cama «rumiándolas» y dando vueltas; levantarse, hacer alguna actividad que distraiga, leer y volver a la cama solo si se siente sueño. Este es además un buen momento para realizar técnicas de relajación que están en esta misma guía.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La</a:t>
            </a:r>
            <a:r>
              <a:rPr lang="es-ES" sz="1200" b="1" kern="1200" dirty="0" smtClean="0">
                <a:solidFill>
                  <a:schemeClr val="tx1"/>
                </a:solidFill>
                <a:effectLst/>
                <a:latin typeface="+mn-lt"/>
                <a:ea typeface="+mn-ea"/>
                <a:cs typeface="+mn-cs"/>
              </a:rPr>
              <a:t> cama </a:t>
            </a:r>
            <a:r>
              <a:rPr lang="es-ES" sz="1200" kern="1200" dirty="0" smtClean="0">
                <a:solidFill>
                  <a:schemeClr val="tx1"/>
                </a:solidFill>
                <a:effectLst/>
                <a:latin typeface="+mn-lt"/>
                <a:ea typeface="+mn-ea"/>
                <a:cs typeface="+mn-cs"/>
              </a:rPr>
              <a:t>es solo para dormir (y la actividad sexual), es por esto importante no comer en la cama, ni ver televisión o trabajar en documentos. Debemos reforzar la asociación de la cama con el sueño, por lo que tampoco es recomendable fumar o leer en la cama (aunque es aceptable leer un poco o escuchar algo de música si eso se asocia con el sueño).  Muchas personas tienen la televisión en su pieza, y la única forma de verla es mientras se está acostado en la cama, si su situación es esa se recomienda que vea televisión (fumes, leas) encima de la cama hecha, y que al momento de dormir se apague la televisión y solo en ese momento se entre a las sábanas.</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Se deben establecer </a:t>
            </a:r>
            <a:r>
              <a:rPr lang="es-ES" sz="1200" b="1" kern="1200" dirty="0" smtClean="0">
                <a:solidFill>
                  <a:schemeClr val="tx1"/>
                </a:solidFill>
                <a:effectLst/>
                <a:latin typeface="+mn-lt"/>
                <a:ea typeface="+mn-ea"/>
                <a:cs typeface="+mn-cs"/>
              </a:rPr>
              <a:t>horarios</a:t>
            </a:r>
            <a:r>
              <a:rPr lang="es-ES" sz="1200" kern="1200" dirty="0" smtClean="0">
                <a:solidFill>
                  <a:schemeClr val="tx1"/>
                </a:solidFill>
                <a:effectLst/>
                <a:latin typeface="+mn-lt"/>
                <a:ea typeface="+mn-ea"/>
                <a:cs typeface="+mn-cs"/>
              </a:rPr>
              <a:t> de ir a la cama y, sobre todo, de despertar. Flojear y dormitar hasta mediodía en la cama dificulta el sueño nocturno. Debemos vigilar los cambios de sueño el fin de semana; los jóvenes pueden lastimar su sueño con relativa impunidad, pero los adultos tienen ritmos biológicos más rígidos que se resienten fácilmente si se alteran con frecuencia. Una siesta breve (alrededor de media hora) en un sillón a mediodía es fisiológica y mejora el rendimiento intelectual por la tarde; pero una larga siesta («de pijama») de 2-3 horas en la cama dificulta el sueño nocturno. No trabaje o estudie después de cenar. Para ambas actividades es preferible madrugar y hacerlas por la mañana temprano.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Antes de acostarse realizar </a:t>
            </a:r>
            <a:r>
              <a:rPr lang="es-ES" sz="1200" b="1" kern="1200" dirty="0" smtClean="0">
                <a:solidFill>
                  <a:schemeClr val="tx1"/>
                </a:solidFill>
                <a:effectLst/>
                <a:latin typeface="+mn-lt"/>
                <a:ea typeface="+mn-ea"/>
                <a:cs typeface="+mn-cs"/>
              </a:rPr>
              <a:t>actividades</a:t>
            </a:r>
            <a:r>
              <a:rPr lang="es-ES" sz="1200" kern="1200" dirty="0" smtClean="0">
                <a:solidFill>
                  <a:schemeClr val="tx1"/>
                </a:solidFill>
                <a:effectLst/>
                <a:latin typeface="+mn-lt"/>
                <a:ea typeface="+mn-ea"/>
                <a:cs typeface="+mn-cs"/>
              </a:rPr>
              <a:t> agradables que ayuden a calmarse antes de ir a la cama, como relajación o escuchar música suave, evitar ver o escuchar noticias que puedan alterar o mantenerse en estado de alerta, evitar sobre-informarte. El </a:t>
            </a:r>
            <a:r>
              <a:rPr lang="es-ES" sz="1200" b="1" kern="1200" dirty="0" smtClean="0">
                <a:solidFill>
                  <a:schemeClr val="tx1"/>
                </a:solidFill>
                <a:effectLst/>
                <a:latin typeface="+mn-lt"/>
                <a:ea typeface="+mn-ea"/>
                <a:cs typeface="+mn-cs"/>
              </a:rPr>
              <a:t>ejercicio</a:t>
            </a:r>
            <a:r>
              <a:rPr lang="es-ES" sz="1200" kern="1200" dirty="0" smtClean="0">
                <a:solidFill>
                  <a:schemeClr val="tx1"/>
                </a:solidFill>
                <a:effectLst/>
                <a:latin typeface="+mn-lt"/>
                <a:ea typeface="+mn-ea"/>
                <a:cs typeface="+mn-cs"/>
              </a:rPr>
              <a:t> físico moderado y regular por la tarde es beneficioso para el sueño nocturno. El ejercicio violento o inhabitual y el que se practica por la noche dificultan el sueño nocturno.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b="1" kern="1200" dirty="0" smtClean="0">
              <a:solidFill>
                <a:schemeClr val="tx1"/>
              </a:solidFill>
              <a:effectLst/>
              <a:latin typeface="+mn-lt"/>
              <a:ea typeface="+mn-ea"/>
              <a:cs typeface="+mn-cs"/>
            </a:endParaRPr>
          </a:p>
          <a:p>
            <a:pPr fontAlgn="base"/>
            <a:r>
              <a:rPr lang="es-ES" sz="1200" b="1" kern="1200" dirty="0" smtClean="0">
                <a:solidFill>
                  <a:schemeClr val="tx1"/>
                </a:solidFill>
                <a:effectLst/>
                <a:latin typeface="+mn-lt"/>
                <a:ea typeface="+mn-ea"/>
                <a:cs typeface="+mn-cs"/>
              </a:rPr>
              <a:t>Búsqueda de apoyo social: Vinculémonos</a:t>
            </a:r>
          </a:p>
          <a:p>
            <a:r>
              <a:rPr lang="es-ES" sz="1200" kern="1200" dirty="0" smtClean="0">
                <a:solidFill>
                  <a:schemeClr val="tx1"/>
                </a:solidFill>
                <a:effectLst/>
                <a:latin typeface="+mn-lt"/>
                <a:ea typeface="+mn-ea"/>
                <a:cs typeface="+mn-cs"/>
              </a:rPr>
              <a:t>La búsqueda de apoyo social implica pedir ayuda y fomentar vínculos, es decir buscar consejos y apoyo de otras personas para encontrar soluciones. También implica una aceptación de lo que nos pasa y el buscar una forma de desahogo con otro, es decir hablar, llorar y expresar nuestras emociones ayuda a manejarlas mejor.</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Vincularse también significa rodearse de personas que nos hagan bien: Aunque probablemente aun tengamos cercanos que estén en aislamiento, es importante recordar que aislamiento social no implica aislamiento emocional. Es por esto que es importante fomentar los vínculos con amigos y familiares con los que puedas sentirte más acompañado y entretenido. Si alguien le hace bien, ¡llámelo!.</a:t>
            </a:r>
            <a:endParaRPr lang="es-CL" sz="1200" kern="1200" dirty="0" smtClean="0">
              <a:solidFill>
                <a:schemeClr val="tx1"/>
              </a:solidFill>
              <a:effectLst/>
              <a:latin typeface="+mn-lt"/>
              <a:ea typeface="+mn-ea"/>
              <a:cs typeface="+mn-cs"/>
            </a:endParaRPr>
          </a:p>
          <a:p>
            <a:pPr fontAlgn="base"/>
            <a:endParaRPr lang="es-ES" sz="1200" b="1" kern="1200" dirty="0" smtClean="0">
              <a:solidFill>
                <a:schemeClr val="tx1"/>
              </a:solidFill>
              <a:effectLst/>
              <a:latin typeface="+mn-lt"/>
              <a:ea typeface="+mn-ea"/>
              <a:cs typeface="+mn-cs"/>
            </a:endParaRPr>
          </a:p>
          <a:p>
            <a:pPr fontAlgn="base"/>
            <a:r>
              <a:rPr lang="es-ES" sz="1200" b="1" kern="1200" dirty="0" smtClean="0">
                <a:solidFill>
                  <a:schemeClr val="tx1"/>
                </a:solidFill>
                <a:effectLst/>
                <a:latin typeface="+mn-lt"/>
                <a:ea typeface="+mn-ea"/>
                <a:cs typeface="+mn-cs"/>
              </a:rPr>
              <a:t>RECONOCE LA SITUACIÓN </a:t>
            </a:r>
          </a:p>
          <a:p>
            <a:r>
              <a:rPr lang="es-ES" sz="1200" kern="1200" dirty="0" smtClean="0">
                <a:solidFill>
                  <a:schemeClr val="tx1"/>
                </a:solidFill>
                <a:effectLst/>
                <a:latin typeface="+mn-lt"/>
                <a:ea typeface="+mn-ea"/>
                <a:cs typeface="+mn-cs"/>
              </a:rPr>
              <a:t>La aceptación implica reconocer nuestro papel en la situación y tomar actitud de cooperación y la búsqueda de soluciones ayudando a otros.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El Manual ABCDE para la aplicación de primeros auxilios psicológicos, en crisis individuales y colectivas del Centro Nacional de Investigación para la Gestión Integrada de Desastres Naturales (CIGIDEN) nos indica que es de utilidad conocer las reacciones normales frente al estrés o a experiencias traumáticas recientes: </a:t>
            </a:r>
          </a:p>
          <a:p>
            <a:r>
              <a:rPr lang="es-ES" sz="1200" kern="1200" dirty="0" smtClean="0">
                <a:solidFill>
                  <a:schemeClr val="tx1"/>
                </a:solidFill>
                <a:effectLst/>
                <a:latin typeface="+mn-lt"/>
                <a:ea typeface="+mn-ea"/>
                <a:cs typeface="+mn-cs"/>
              </a:rPr>
              <a:t>Es muy importante que se normalice aquellas reacciones emocionales que -aunque por cierto incómodas- son normales en situaciones de crisis, como labilidad emocional, dificultad para pensar, insomnio, angustia, entre otras. De esta manera la persona no interpretará lo que le ocurre como una señal de estar “perdiendo la cabeza”. RECORDAR REACCIONES</a:t>
            </a:r>
            <a:r>
              <a:rPr lang="es-ES" sz="1200" kern="1200" baseline="0" dirty="0" smtClean="0">
                <a:solidFill>
                  <a:schemeClr val="tx1"/>
                </a:solidFill>
                <a:effectLst/>
                <a:latin typeface="+mn-lt"/>
                <a:ea typeface="+mn-ea"/>
                <a:cs typeface="+mn-cs"/>
              </a:rPr>
              <a:t> EMOCIONALES´, FÍSICAS Y COGNITIVAS E INTERPERSONALES</a:t>
            </a:r>
          </a:p>
          <a:p>
            <a:r>
              <a:rPr lang="es-CL" sz="1200" b="1" i="0" kern="1200" dirty="0" smtClean="0">
                <a:solidFill>
                  <a:schemeClr val="tx1"/>
                </a:solidFill>
                <a:effectLst/>
                <a:latin typeface="+mn-lt"/>
                <a:ea typeface="+mn-ea"/>
                <a:cs typeface="+mn-cs"/>
              </a:rPr>
              <a:t>Conocer nuestras limitaciones</a:t>
            </a:r>
            <a:endParaRPr lang="es-CL" sz="1200" b="1" i="1"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Estar viviendo durante una situación de crisis sin precedentes en la historia de la humanidad podría poner al límite nuestras capacidades para tolerar el estrés, la incertidumbre y la inmensa cantidad de problemáticas a las que todas las personas se están viendo enfrentadas a causa del COVID-19. </a:t>
            </a:r>
          </a:p>
          <a:p>
            <a:r>
              <a:rPr lang="es-ES" sz="1200" b="1" kern="1200" dirty="0" smtClean="0">
                <a:solidFill>
                  <a:schemeClr val="tx1"/>
                </a:solidFill>
                <a:effectLst/>
                <a:latin typeface="+mn-lt"/>
                <a:ea typeface="+mn-ea"/>
                <a:cs typeface="+mn-cs"/>
              </a:rPr>
              <a:t>Cómo saber cuándo se sobrepasan los límites emocionales?</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No existe una fórmula más que estar conscientes a nuestras emociones, es importante comprender que a mayor desgaste y cansancio disminuirá nuestra disposición, actitud positiva y energía para enfrentar la situación. Descansar apropiadamente es fundamental en estos momentos.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Recordar poner atención a las emociones, si se percibe excesiva tensión antes o durante alguna situación derivada del trabajo o de las relaciones personales, podría estar cerca de un límite emocional.</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Recuerda aceptar que hay situaciones que escapan del control de las personas.</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Si tienes control, puedes actuar (sólo si así lo quieres).</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Si no tienes control, entonces suéltalo y reduce la tensión que te genera.</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Prácticamente todas las situaciones difíciles son abordables comunicándonos mejor.</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Si no te sientes capaz de algo, pide ayuda.</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Busca hablar con otros sobre cómo te sientes.</a:t>
            </a:r>
          </a:p>
          <a:p>
            <a:pPr lvl="0"/>
            <a:r>
              <a:rPr lang="es-ES" sz="1200" kern="1200" dirty="0" smtClean="0">
                <a:solidFill>
                  <a:schemeClr val="tx1"/>
                </a:solidFill>
                <a:effectLst/>
                <a:latin typeface="+mn-lt"/>
                <a:ea typeface="+mn-ea"/>
                <a:cs typeface="+mn-cs"/>
              </a:rPr>
              <a:t>Identifica tus límites y decide si quieres ampliarlos o dejarlos así.</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Si sientes que definitivamente no puedes con la situación, busca ayuda para que alguien más lo haga.</a:t>
            </a:r>
            <a:endParaRPr lang="es-CL" sz="1200" kern="1200" dirty="0" smtClean="0">
              <a:solidFill>
                <a:schemeClr val="tx1"/>
              </a:solidFill>
              <a:effectLst/>
              <a:latin typeface="+mn-lt"/>
              <a:ea typeface="+mn-ea"/>
              <a:cs typeface="+mn-cs"/>
            </a:endParaRPr>
          </a:p>
          <a:p>
            <a:r>
              <a:rPr lang="es-CL" sz="1200" b="1" i="0" kern="1200" dirty="0" smtClean="0">
                <a:solidFill>
                  <a:schemeClr val="tx1"/>
                </a:solidFill>
                <a:effectLst/>
                <a:latin typeface="+mn-lt"/>
                <a:ea typeface="+mn-ea"/>
                <a:cs typeface="+mn-cs"/>
              </a:rPr>
              <a:t>Actitud de cooperación</a:t>
            </a:r>
            <a:endParaRPr lang="es-CL" sz="1200" b="1" i="1"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Las relaciones de cooperación son una muestra ejemplar de las formas en que la naturaleza se abre paso y existe, propiciando que diferentes organismos coexistan en el planeta.(mead </a:t>
            </a:r>
            <a:r>
              <a:rPr lang="es-ES" sz="1200" kern="1200" dirty="0" err="1" smtClean="0">
                <a:solidFill>
                  <a:schemeClr val="tx1"/>
                </a:solidFill>
                <a:effectLst/>
                <a:latin typeface="+mn-lt"/>
                <a:ea typeface="+mn-ea"/>
                <a:cs typeface="+mn-cs"/>
              </a:rPr>
              <a:t>femur</a:t>
            </a:r>
            <a:r>
              <a:rPr lang="es-ES" sz="1200" kern="1200" dirty="0" smtClean="0">
                <a:solidFill>
                  <a:schemeClr val="tx1"/>
                </a:solidFill>
                <a:effectLst/>
                <a:latin typeface="+mn-lt"/>
                <a:ea typeface="+mn-ea"/>
                <a:cs typeface="+mn-cs"/>
              </a:rPr>
              <a:t> roto)</a:t>
            </a:r>
          </a:p>
          <a:p>
            <a:r>
              <a:rPr lang="es-ES" sz="1200" kern="1200" dirty="0" smtClean="0">
                <a:solidFill>
                  <a:schemeClr val="tx1"/>
                </a:solidFill>
                <a:effectLst/>
                <a:latin typeface="+mn-lt"/>
                <a:ea typeface="+mn-ea"/>
                <a:cs typeface="+mn-cs"/>
              </a:rPr>
              <a:t>En este sentido es correcto aseverar que los humanos hemos evolucionado a través de la conductas cooperativas, lo que nos ha impulsado a crear sociedades y hoy por hoy vivimos en un mundo de conexión total y nos demos cuenta o no, constituimos una sociedad global que, a través de variadas formas de interconectar, se influye positiva o negativamente a sí misma y a su entorno.</a:t>
            </a:r>
          </a:p>
          <a:p>
            <a:pPr marL="0" marR="0" indent="0" algn="l" defTabSz="914400" rtl="0" eaLnBrk="1" fontAlgn="auto" latinLnBrk="0" hangingPunct="1">
              <a:lnSpc>
                <a:spcPct val="100000"/>
              </a:lnSpc>
              <a:spcBef>
                <a:spcPts val="0"/>
              </a:spcBef>
              <a:spcAft>
                <a:spcPts val="0"/>
              </a:spcAft>
              <a:buClrTx/>
              <a:buSzTx/>
              <a:buFontTx/>
              <a:buNone/>
              <a:tabLst/>
              <a:defRPr/>
            </a:pPr>
            <a:r>
              <a:rPr lang="es-ES" sz="1200" kern="1200" dirty="0" smtClean="0">
                <a:solidFill>
                  <a:schemeClr val="tx1"/>
                </a:solidFill>
                <a:effectLst/>
                <a:latin typeface="+mn-lt"/>
                <a:ea typeface="+mn-ea"/>
                <a:cs typeface="+mn-cs"/>
              </a:rPr>
              <a:t>La crisis actual es un claro ejemplo de un problema que se soluciona colaborativamente, ya que la propagación de la pandemia dependerá, entre otras cosas, de nuestros hábitos individuales, que  si extrapolamos al comportamiento de toda una sociedad, podrían ayudarnos a salir más rápido de la crisis.</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Según un estudio en comunidades de vecinos que colaboran y tienen confianza los unos en los otros se ha comprobado mejores niveles de:</a:t>
            </a:r>
            <a:endParaRPr lang="es-CL" sz="1200" kern="1200" dirty="0" smtClean="0">
              <a:solidFill>
                <a:schemeClr val="tx1"/>
              </a:solidFill>
              <a:effectLst/>
              <a:latin typeface="+mn-lt"/>
              <a:ea typeface="+mn-ea"/>
              <a:cs typeface="+mn-cs"/>
            </a:endParaRPr>
          </a:p>
          <a:p>
            <a:pPr fontAlgn="base"/>
            <a:r>
              <a:rPr lang="es-ES" sz="1200" kern="1200" dirty="0" smtClean="0">
                <a:solidFill>
                  <a:schemeClr val="tx1"/>
                </a:solidFill>
                <a:effectLst/>
                <a:latin typeface="+mn-lt"/>
                <a:ea typeface="+mn-ea"/>
                <a:cs typeface="+mn-cs"/>
              </a:rPr>
              <a:t> </a:t>
            </a:r>
            <a:endParaRPr lang="es-CL" sz="1200" kern="1200" dirty="0" smtClean="0">
              <a:solidFill>
                <a:schemeClr val="tx1"/>
              </a:solidFill>
              <a:effectLst/>
              <a:latin typeface="+mn-lt"/>
              <a:ea typeface="+mn-ea"/>
              <a:cs typeface="+mn-cs"/>
            </a:endParaRPr>
          </a:p>
          <a:p>
            <a:pPr lvl="0" fontAlgn="base"/>
            <a:r>
              <a:rPr lang="es-ES" sz="1200" kern="1200" dirty="0" smtClean="0">
                <a:solidFill>
                  <a:schemeClr val="tx1"/>
                </a:solidFill>
                <a:effectLst/>
                <a:latin typeface="+mn-lt"/>
                <a:ea typeface="+mn-ea"/>
                <a:cs typeface="+mn-cs"/>
              </a:rPr>
              <a:t>Salud de los hijos.</a:t>
            </a:r>
            <a:endParaRPr lang="es-CL" sz="1200" kern="1200" dirty="0" smtClean="0">
              <a:solidFill>
                <a:schemeClr val="tx1"/>
              </a:solidFill>
              <a:effectLst/>
              <a:latin typeface="+mn-lt"/>
              <a:ea typeface="+mn-ea"/>
              <a:cs typeface="+mn-cs"/>
            </a:endParaRPr>
          </a:p>
          <a:p>
            <a:pPr lvl="0" fontAlgn="base"/>
            <a:r>
              <a:rPr lang="es-ES" sz="1200" kern="1200" dirty="0" smtClean="0">
                <a:solidFill>
                  <a:schemeClr val="tx1"/>
                </a:solidFill>
                <a:effectLst/>
                <a:latin typeface="+mn-lt"/>
                <a:ea typeface="+mn-ea"/>
                <a:cs typeface="+mn-cs"/>
              </a:rPr>
              <a:t>Mejor desempeño académico.</a:t>
            </a:r>
            <a:endParaRPr lang="es-CL" sz="1200" kern="1200" dirty="0" smtClean="0">
              <a:solidFill>
                <a:schemeClr val="tx1"/>
              </a:solidFill>
              <a:effectLst/>
              <a:latin typeface="+mn-lt"/>
              <a:ea typeface="+mn-ea"/>
              <a:cs typeface="+mn-cs"/>
            </a:endParaRPr>
          </a:p>
          <a:p>
            <a:pPr lvl="0" fontAlgn="base"/>
            <a:r>
              <a:rPr lang="es-ES" sz="1200" kern="1200" dirty="0" smtClean="0">
                <a:solidFill>
                  <a:schemeClr val="tx1"/>
                </a:solidFill>
                <a:effectLst/>
                <a:latin typeface="+mn-lt"/>
                <a:ea typeface="+mn-ea"/>
                <a:cs typeface="+mn-cs"/>
              </a:rPr>
              <a:t>Mayor esperanza de vida.</a:t>
            </a:r>
            <a:endParaRPr lang="es-CL" sz="1200" kern="1200" dirty="0" smtClean="0">
              <a:solidFill>
                <a:schemeClr val="tx1"/>
              </a:solidFill>
              <a:effectLst/>
              <a:latin typeface="+mn-lt"/>
              <a:ea typeface="+mn-ea"/>
              <a:cs typeface="+mn-cs"/>
            </a:endParaRPr>
          </a:p>
          <a:p>
            <a:pPr lvl="0" fontAlgn="base"/>
            <a:r>
              <a:rPr lang="es-ES" sz="1200" kern="1200" dirty="0" smtClean="0">
                <a:solidFill>
                  <a:schemeClr val="tx1"/>
                </a:solidFill>
                <a:effectLst/>
                <a:latin typeface="+mn-lt"/>
                <a:ea typeface="+mn-ea"/>
                <a:cs typeface="+mn-cs"/>
              </a:rPr>
              <a:t>Reducción de desórdenes sociales.</a:t>
            </a:r>
            <a:endParaRPr lang="es-CL" sz="1200" kern="1200" dirty="0" smtClean="0">
              <a:solidFill>
                <a:schemeClr val="tx1"/>
              </a:solidFill>
              <a:effectLst/>
              <a:latin typeface="+mn-lt"/>
              <a:ea typeface="+mn-ea"/>
              <a:cs typeface="+mn-cs"/>
            </a:endParaRPr>
          </a:p>
          <a:p>
            <a:endParaRPr lang="es-ES"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Identifiquen a sus compañeros de equipo que se encuentran más afectados por lo que estamos viviendo, para poder resguardarlos y brindarles apoyo. </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En estos momentos, es normal que la gente esté más alterada. Por lo mismo, intenten ponerse en el lugar de ellos y estar calmados, para así evitar eventuales conflictos y resguardar nuestras emociones. </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Recuerda que en momentos de contingencia es esperable que no resulten las cosas como queremos. Por ende, hay que buscar enfocarse en las soluciones, más que en los problemas. </a:t>
            </a:r>
            <a:endParaRPr lang="es-CL" sz="1200" kern="1200" dirty="0" smtClean="0">
              <a:solidFill>
                <a:schemeClr val="tx1"/>
              </a:solidFill>
              <a:effectLst/>
              <a:latin typeface="+mn-lt"/>
              <a:ea typeface="+mn-ea"/>
              <a:cs typeface="+mn-cs"/>
            </a:endParaRPr>
          </a:p>
          <a:p>
            <a:pPr lvl="0"/>
            <a:r>
              <a:rPr lang="es-ES" sz="1200" kern="1200" dirty="0" smtClean="0">
                <a:solidFill>
                  <a:schemeClr val="tx1"/>
                </a:solidFill>
                <a:effectLst/>
                <a:latin typeface="+mn-lt"/>
                <a:ea typeface="+mn-ea"/>
                <a:cs typeface="+mn-cs"/>
              </a:rPr>
              <a:t>Además, es fundamental que todos los miembros del equipo se apoyen constantemente, para así evitar que nos desgastemos emocionalmente. </a:t>
            </a:r>
            <a:endParaRPr lang="es-CL" sz="1200" kern="1200" dirty="0" smtClean="0">
              <a:solidFill>
                <a:schemeClr val="tx1"/>
              </a:solidFill>
              <a:effectLst/>
              <a:latin typeface="+mn-lt"/>
              <a:ea typeface="+mn-ea"/>
              <a:cs typeface="+mn-cs"/>
            </a:endParaRPr>
          </a:p>
          <a:p>
            <a:r>
              <a:rPr lang="es-ES" sz="1200" kern="1200" dirty="0" smtClean="0">
                <a:solidFill>
                  <a:schemeClr val="tx1"/>
                </a:solidFill>
                <a:effectLst/>
                <a:latin typeface="+mn-lt"/>
                <a:ea typeface="+mn-ea"/>
                <a:cs typeface="+mn-cs"/>
              </a:rPr>
              <a:t>Y lo más importante, preocúpense de organizar sus tiempos para darse todos los espacios posibles para hacer actividades que les ayuden emocionalmente</a:t>
            </a:r>
          </a:p>
          <a:p>
            <a:endParaRPr lang="es-CL" dirty="0"/>
          </a:p>
        </p:txBody>
      </p:sp>
      <p:sp>
        <p:nvSpPr>
          <p:cNvPr id="4" name="Marcador de número de diapositiva 3"/>
          <p:cNvSpPr>
            <a:spLocks noGrp="1"/>
          </p:cNvSpPr>
          <p:nvPr>
            <p:ph type="sldNum" sz="quarter" idx="10"/>
          </p:nvPr>
        </p:nvSpPr>
        <p:spPr/>
        <p:txBody>
          <a:bodyPr/>
          <a:lstStyle/>
          <a:p>
            <a:fld id="{9E5CA14C-C590-4272-8883-6A16AF610820}" type="slidenum">
              <a:rPr lang="es-CL" smtClean="0"/>
              <a:t>8</a:t>
            </a:fld>
            <a:endParaRPr lang="es-CL"/>
          </a:p>
        </p:txBody>
      </p:sp>
    </p:spTree>
    <p:extLst>
      <p:ext uri="{BB962C8B-B14F-4D97-AF65-F5344CB8AC3E}">
        <p14:creationId xmlns:p14="http://schemas.microsoft.com/office/powerpoint/2010/main" val="3209980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smtClean="0">
                <a:solidFill>
                  <a:schemeClr val="tx1"/>
                </a:solidFill>
                <a:effectLst/>
                <a:latin typeface="+mn-lt"/>
                <a:ea typeface="+mn-ea"/>
                <a:cs typeface="+mn-cs"/>
              </a:rPr>
              <a:t>Cualquier crisis puede exponer rápidamente las debilidades y los puntos ciegos de un líder y si él o ella fingen tener todas las respuestas y son reacios a admitir errores o pedir ayuda, otros en la línea de mando casi seguramente adoptarán esa misma perspectiva. Este tipo de obstinación creará, inevitablemente, una espiral descendente de fracasos sucesivos. Por otro lado, argumentan los especialistas, los líderes dispuestos a abrazar la vulnerabilidad y la transparencia crearán una cultura excepcionalmente fértil en la que no solo se tolere, sino que se aliente y se recompense pensar profundamente sobre los puntos ciegos y las necesidades de desarrollo de cada uno (</a:t>
            </a:r>
            <a:r>
              <a:rPr lang="es-CL" sz="1200" kern="1200" dirty="0" err="1" smtClean="0">
                <a:solidFill>
                  <a:schemeClr val="tx1"/>
                </a:solidFill>
                <a:effectLst/>
                <a:latin typeface="+mn-lt"/>
                <a:ea typeface="+mn-ea"/>
                <a:cs typeface="+mn-cs"/>
              </a:rPr>
              <a:t>Cohn</a:t>
            </a:r>
            <a:r>
              <a:rPr lang="es-CL" sz="1200" kern="1200" dirty="0" smtClean="0">
                <a:solidFill>
                  <a:schemeClr val="tx1"/>
                </a:solidFill>
                <a:effectLst/>
                <a:latin typeface="+mn-lt"/>
                <a:ea typeface="+mn-ea"/>
                <a:cs typeface="+mn-cs"/>
              </a:rPr>
              <a:t> et al, 2020).</a:t>
            </a:r>
          </a:p>
          <a:p>
            <a:r>
              <a:rPr lang="es-CL" sz="1200" kern="1200" dirty="0" smtClean="0">
                <a:solidFill>
                  <a:schemeClr val="tx1"/>
                </a:solidFill>
                <a:effectLst/>
                <a:latin typeface="+mn-lt"/>
                <a:ea typeface="+mn-ea"/>
                <a:cs typeface="+mn-cs"/>
              </a:rPr>
              <a:t>Así entonces, se debe hacer un esfuerzo en aceptar que no siempre se podrá ser una jefatura ejemplar o tener todas las respuestas. Es más, en la contingencia actual, es importante aceptar que no siempre se podrá ser un extraordinario padre o madre, hermano o hermana, hijo o hija, por todas las variables que se enfrentan durante esta crisis. Esto se traduce en la necesidad de hacer un duelo de las formas pasadas de pensar. Se siente que el mundo ha cambiado, y lo ha hecho. Se sabe que esto es temporal, pero no lo parece, y uno se da cuenta que las cosas serán diferentes (</a:t>
            </a:r>
            <a:r>
              <a:rPr lang="es-CL" sz="1200" kern="1200" dirty="0" err="1" smtClean="0">
                <a:solidFill>
                  <a:schemeClr val="tx1"/>
                </a:solidFill>
                <a:effectLst/>
                <a:latin typeface="+mn-lt"/>
                <a:ea typeface="+mn-ea"/>
                <a:cs typeface="+mn-cs"/>
              </a:rPr>
              <a:t>Berinato</a:t>
            </a:r>
            <a:r>
              <a:rPr lang="es-CL" sz="1200" kern="1200" dirty="0" smtClean="0">
                <a:solidFill>
                  <a:schemeClr val="tx1"/>
                </a:solidFill>
                <a:effectLst/>
                <a:latin typeface="+mn-lt"/>
                <a:ea typeface="+mn-ea"/>
                <a:cs typeface="+mn-cs"/>
              </a:rPr>
              <a:t>, 2020). </a:t>
            </a:r>
          </a:p>
          <a:p>
            <a:r>
              <a:rPr lang="es-CL" sz="1200" kern="1200" dirty="0" smtClean="0">
                <a:solidFill>
                  <a:schemeClr val="tx1"/>
                </a:solidFill>
                <a:effectLst/>
                <a:latin typeface="+mn-lt"/>
                <a:ea typeface="+mn-ea"/>
                <a:cs typeface="+mn-cs"/>
              </a:rPr>
              <a:t>Esto implica, en el ambiente laboral, que los líderes deben estar más abiertos a compartir con sus pares las dificultades que van surgiendo y las posibles soluciones, fomentando el trabajo en equipo de similares niveles jerárquicos. De esa forma podrán compartir el peso que significa la adaptación a la crisis y no soportarlo de manera independiente. No solo eso, sino que además se debe confiar en los subalternos, pudiendo ser líderes formales (como supervisores) o informales (como personas carismáticas), y delegar, en la medida de lo posible, las tareas que potencien el funcionamiento del equipo.   </a:t>
            </a:r>
          </a:p>
          <a:p>
            <a:r>
              <a:rPr lang="es-CL" sz="1200" kern="1200" dirty="0" smtClean="0">
                <a:solidFill>
                  <a:schemeClr val="tx1"/>
                </a:solidFill>
                <a:effectLst/>
                <a:latin typeface="+mn-lt"/>
                <a:ea typeface="+mn-ea"/>
                <a:cs typeface="+mn-cs"/>
              </a:rPr>
              <a:t>Por último, es también necesario preguntarse si la organización está apoyando a las jefaturas, ya que ningún esfuerzo que intenten impulsar los líderes tendrá efecto si a nivel corporativo no existen directrices alienadas sobre la salud y el bienestar de las personas (Smith, 2020).</a:t>
            </a:r>
          </a:p>
          <a:p>
            <a:pPr marL="0" marR="0" indent="0" algn="l" defTabSz="914400" rtl="0" eaLnBrk="1" fontAlgn="auto" latinLnBrk="0" hangingPunct="1">
              <a:lnSpc>
                <a:spcPct val="100000"/>
              </a:lnSpc>
              <a:spcBef>
                <a:spcPts val="0"/>
              </a:spcBef>
              <a:spcAft>
                <a:spcPts val="0"/>
              </a:spcAft>
              <a:buClrTx/>
              <a:buSzTx/>
              <a:buFontTx/>
              <a:buNone/>
              <a:tabLst/>
              <a:defRPr/>
            </a:pPr>
            <a:r>
              <a:rPr lang="es-ES" sz="1200" b="1" kern="1200" dirty="0" smtClean="0">
                <a:solidFill>
                  <a:schemeClr val="tx1"/>
                </a:solidFill>
                <a:effectLst/>
                <a:latin typeface="+mn-lt"/>
                <a:ea typeface="+mn-ea"/>
                <a:cs typeface="+mn-cs"/>
              </a:rPr>
              <a:t>Las organizaciones de todos los sectores requieren hoy más que nunca orientación y apoyo en el manejo de las diversas situaciones derivadas de la crisis con sus trabajadores, por lo que este manual entrega guías e información para contribuir a minimizar el impacto negativo en la salud mental de todas las personas, “estamos en crisis y el cómo transitemos por ella hará la diferencia cuando todo esto termine” </a:t>
            </a:r>
            <a:endParaRPr lang="es-CL" sz="1200" b="1" kern="1200" dirty="0" smtClean="0">
              <a:solidFill>
                <a:schemeClr val="tx1"/>
              </a:solidFill>
              <a:effectLst/>
              <a:latin typeface="+mn-lt"/>
              <a:ea typeface="+mn-ea"/>
              <a:cs typeface="+mn-cs"/>
            </a:endParaRPr>
          </a:p>
          <a:p>
            <a:endParaRPr lang="es-CL" sz="1200" b="1" kern="1200" dirty="0" smtClean="0">
              <a:solidFill>
                <a:schemeClr val="tx1"/>
              </a:solidFill>
              <a:effectLst/>
              <a:latin typeface="+mn-lt"/>
              <a:ea typeface="+mn-ea"/>
              <a:cs typeface="+mn-cs"/>
            </a:endParaRPr>
          </a:p>
          <a:p>
            <a:r>
              <a:rPr lang="es-CL" sz="1200" b="1" kern="1200" dirty="0" smtClean="0">
                <a:solidFill>
                  <a:schemeClr val="tx1"/>
                </a:solidFill>
                <a:effectLst/>
                <a:latin typeface="+mn-lt"/>
                <a:ea typeface="+mn-ea"/>
                <a:cs typeface="+mn-cs"/>
              </a:rPr>
              <a:t> </a:t>
            </a:r>
          </a:p>
          <a:p>
            <a:r>
              <a:rPr lang="es-CL" sz="1200" b="1" kern="1200" dirty="0" smtClean="0">
                <a:solidFill>
                  <a:schemeClr val="tx1"/>
                </a:solidFill>
                <a:effectLst/>
                <a:latin typeface="+mn-lt"/>
                <a:ea typeface="+mn-ea"/>
                <a:cs typeface="+mn-cs"/>
              </a:rPr>
              <a:t> </a:t>
            </a:r>
          </a:p>
          <a:p>
            <a:r>
              <a:rPr lang="es-CL" sz="1200" b="1" kern="1200" dirty="0" smtClean="0">
                <a:solidFill>
                  <a:schemeClr val="tx1"/>
                </a:solidFill>
                <a:effectLst/>
                <a:latin typeface="+mn-lt"/>
                <a:ea typeface="+mn-ea"/>
                <a:cs typeface="+mn-cs"/>
              </a:rPr>
              <a:t> </a:t>
            </a:r>
          </a:p>
          <a:p>
            <a:endParaRPr lang="es-CL" b="1" dirty="0" smtClean="0"/>
          </a:p>
          <a:p>
            <a:endParaRPr lang="es-CL" dirty="0"/>
          </a:p>
        </p:txBody>
      </p:sp>
      <p:sp>
        <p:nvSpPr>
          <p:cNvPr id="4" name="Marcador de número de diapositiva 3"/>
          <p:cNvSpPr>
            <a:spLocks noGrp="1"/>
          </p:cNvSpPr>
          <p:nvPr>
            <p:ph type="sldNum" sz="quarter" idx="10"/>
          </p:nvPr>
        </p:nvSpPr>
        <p:spPr/>
        <p:txBody>
          <a:bodyPr/>
          <a:lstStyle/>
          <a:p>
            <a:fld id="{FDF80E95-6235-414B-A48F-22F6C3CEDC31}" type="slidenum">
              <a:rPr lang="es-CL" smtClean="0">
                <a:solidFill>
                  <a:prstClr val="black"/>
                </a:solidFill>
              </a:rPr>
              <a:pPr/>
              <a:t>9</a:t>
            </a:fld>
            <a:endParaRPr lang="es-CL">
              <a:solidFill>
                <a:prstClr val="black"/>
              </a:solidFill>
            </a:endParaRPr>
          </a:p>
        </p:txBody>
      </p:sp>
    </p:spTree>
    <p:extLst>
      <p:ext uri="{BB962C8B-B14F-4D97-AF65-F5344CB8AC3E}">
        <p14:creationId xmlns:p14="http://schemas.microsoft.com/office/powerpoint/2010/main" val="552326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14.vml"/><Relationship Id="rId6" Type="http://schemas.openxmlformats.org/officeDocument/2006/relationships/image" Target="../media/image3.jpeg"/><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5.vml"/><Relationship Id="rId6" Type="http://schemas.openxmlformats.org/officeDocument/2006/relationships/image" Target="../media/image3.jpe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image" Target="../media/image3.jpeg"/><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9.png"/><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9.xml"/><Relationship Id="rId7" Type="http://schemas.openxmlformats.org/officeDocument/2006/relationships/image" Target="../media/image10.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2.jpg"/><Relationship Id="rId2" Type="http://schemas.openxmlformats.org/officeDocument/2006/relationships/tags" Target="../tags/tag61.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6.xml"/><Relationship Id="rId7" Type="http://schemas.openxmlformats.org/officeDocument/2006/relationships/image" Target="../media/image10.emf"/><Relationship Id="rId2" Type="http://schemas.openxmlformats.org/officeDocument/2006/relationships/tags" Target="../tags/tag65.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jpe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2.jpg"/><Relationship Id="rId2" Type="http://schemas.openxmlformats.org/officeDocument/2006/relationships/tags" Target="../tags/tag7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jpe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6.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tags" Target="../tags/tag18.xml"/><Relationship Id="rId11" Type="http://schemas.openxmlformats.org/officeDocument/2006/relationships/oleObject" Target="../embeddings/oleObject7.bin"/><Relationship Id="rId5" Type="http://schemas.openxmlformats.org/officeDocument/2006/relationships/tags" Target="../tags/tag17.xml"/><Relationship Id="rId10" Type="http://schemas.openxmlformats.org/officeDocument/2006/relationships/slideMaster" Target="../slideMasters/slideMaster1.xml"/><Relationship Id="rId4" Type="http://schemas.openxmlformats.org/officeDocument/2006/relationships/tags" Target="../tags/tag16.xml"/><Relationship Id="rId9" Type="http://schemas.openxmlformats.org/officeDocument/2006/relationships/tags" Target="../tags/tag2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6.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tags" Target="../tags/tag26.xml"/><Relationship Id="rId11" Type="http://schemas.openxmlformats.org/officeDocument/2006/relationships/oleObject" Target="../embeddings/oleObject8.bin"/><Relationship Id="rId5" Type="http://schemas.openxmlformats.org/officeDocument/2006/relationships/tags" Target="../tags/tag25.xml"/><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8.png"/><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826F6700-F5AB-45A7-BA9B-75BC17DEA1E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9" name="Diapositiva de think-cell" r:id="rId4" imgW="415" imgH="416" progId="TCLayout.ActiveDocument.1">
                  <p:embed/>
                </p:oleObj>
              </mc:Choice>
              <mc:Fallback>
                <p:oleObj name="Diapositiva de think-cell"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386166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Contenido">
    <p:spTree>
      <p:nvGrpSpPr>
        <p:cNvPr id="1" name=""/>
        <p:cNvGrpSpPr/>
        <p:nvPr/>
      </p:nvGrpSpPr>
      <p:grpSpPr>
        <a:xfrm>
          <a:off x="0" y="0"/>
          <a:ext cx="0" cy="0"/>
          <a:chOff x="0" y="0"/>
          <a:chExt cx="0" cy="0"/>
        </a:xfrm>
      </p:grpSpPr>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pic>
        <p:nvPicPr>
          <p:cNvPr id="11" name="Imagen 10" descr="logo achs 300x30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80578" y="116635"/>
            <a:ext cx="715553" cy="536665"/>
          </a:xfrm>
          <a:prstGeom prst="rect">
            <a:avLst/>
          </a:prstGeom>
        </p:spPr>
      </p:pic>
      <p:cxnSp>
        <p:nvCxnSpPr>
          <p:cNvPr id="13" name="Conector recto 12"/>
          <p:cNvCxnSpPr/>
          <p:nvPr userDrawn="1"/>
        </p:nvCxnSpPr>
        <p:spPr>
          <a:xfrm>
            <a:off x="527381" y="792322"/>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527381" y="6416840"/>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35914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6713" name="Diapositiva de think-cell" r:id="rId5" imgW="530" imgH="531" progId="TCLayout.ActiveDocument.1">
                  <p:embed/>
                </p:oleObj>
              </mc:Choice>
              <mc:Fallback>
                <p:oleObj name="Diapositiva de think-cell" r:id="rId5" imgW="530" imgH="531"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BF1DDFCB-7E5A-4098-BAE5-5864D6869971}"/>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pic>
        <p:nvPicPr>
          <p:cNvPr id="11" name="Imagen 10"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280578" y="116635"/>
            <a:ext cx="715553" cy="536665"/>
          </a:xfrm>
          <a:prstGeom prst="rect">
            <a:avLst/>
          </a:prstGeom>
        </p:spPr>
      </p:pic>
    </p:spTree>
    <p:extLst>
      <p:ext uri="{BB962C8B-B14F-4D97-AF65-F5344CB8AC3E}">
        <p14:creationId xmlns:p14="http://schemas.microsoft.com/office/powerpoint/2010/main" val="2058118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7737"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xmlns="" id="{7E15A125-8F21-3D4F-BA3F-668CEBF3A8D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484990" y="1484784"/>
            <a:ext cx="7222019" cy="4060403"/>
          </a:xfrm>
          <a:prstGeom prst="rect">
            <a:avLst/>
          </a:prstGeom>
        </p:spPr>
      </p:pic>
    </p:spTree>
    <p:extLst>
      <p:ext uri="{BB962C8B-B14F-4D97-AF65-F5344CB8AC3E}">
        <p14:creationId xmlns:p14="http://schemas.microsoft.com/office/powerpoint/2010/main" val="21685535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28761"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527383" y="168899"/>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CL" altLang="es-CL"/>
              <a:t>Haga clic para modificar estilo de título del patrón</a:t>
            </a:r>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3" y="6587481"/>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eaLnBrk="1">
              <a:defRPr lang="es-CL" sz="1000" dirty="0">
                <a:solidFill>
                  <a:schemeClr val="tx1"/>
                </a:solidFill>
                <a:latin typeface="Arial" pitchFamily="34" charset="0"/>
                <a:cs typeface="Arial" pitchFamily="34" charset="0"/>
              </a:defRPr>
            </a:lvl1pPr>
          </a:lstStyle>
          <a:p>
            <a:pPr marL="557185" indent="-557185" defTabSz="910588" fontAlgn="base">
              <a:spcBef>
                <a:spcPct val="0"/>
              </a:spcBef>
              <a:spcAft>
                <a:spcPct val="0"/>
              </a:spcAft>
              <a:tabLst>
                <a:tab pos="528979" algn="r"/>
              </a:tabLst>
            </a:pPr>
            <a:endParaRPr>
              <a:solidFill>
                <a:srgbClr val="000000"/>
              </a:solidFill>
            </a:endParaRPr>
          </a:p>
        </p:txBody>
      </p:sp>
      <p:pic>
        <p:nvPicPr>
          <p:cNvPr id="11" name="Imagen 10" descr="logo achs 300x300.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80580" y="116636"/>
            <a:ext cx="715553" cy="536665"/>
          </a:xfrm>
          <a:prstGeom prst="rect">
            <a:avLst/>
          </a:prstGeom>
        </p:spPr>
      </p:pic>
    </p:spTree>
    <p:extLst>
      <p:ext uri="{BB962C8B-B14F-4D97-AF65-F5344CB8AC3E}">
        <p14:creationId xmlns:p14="http://schemas.microsoft.com/office/powerpoint/2010/main" val="3720350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Contenido">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68716A77-151E-498A-9317-A7109A879876}"/>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9785" name="Diapositiva de think-cell" r:id="rId5" imgW="530" imgH="531" progId="TCLayout.ActiveDocument.1">
                  <p:embed/>
                </p:oleObj>
              </mc:Choice>
              <mc:Fallback>
                <p:oleObj name="Diapositiva de think-cell" r:id="rId5" imgW="530" imgH="531"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0D6098ED-6D5E-4352-A87E-3957D54521C4}"/>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pic>
        <p:nvPicPr>
          <p:cNvPr id="11" name="Imagen 10"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280578" y="116635"/>
            <a:ext cx="715553" cy="536665"/>
          </a:xfrm>
          <a:prstGeom prst="rect">
            <a:avLst/>
          </a:prstGeom>
        </p:spPr>
      </p:pic>
      <p:cxnSp>
        <p:nvCxnSpPr>
          <p:cNvPr id="13" name="Conector recto 12"/>
          <p:cNvCxnSpPr/>
          <p:nvPr userDrawn="1"/>
        </p:nvCxnSpPr>
        <p:spPr>
          <a:xfrm>
            <a:off x="527381" y="792322"/>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527381" y="6416840"/>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70519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809"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527381" y="333375"/>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cxnSp>
        <p:nvCxnSpPr>
          <p:cNvPr id="13" name="Conector recto 12"/>
          <p:cNvCxnSpPr/>
          <p:nvPr userDrawn="1"/>
        </p:nvCxnSpPr>
        <p:spPr>
          <a:xfrm>
            <a:off x="509951" y="1124744"/>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527381" y="6416840"/>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pic>
        <p:nvPicPr>
          <p:cNvPr id="12" name="Imagen 11">
            <a:extLst>
              <a:ext uri="{FF2B5EF4-FFF2-40B4-BE49-F238E27FC236}">
                <a16:creationId xmlns:a16="http://schemas.microsoft.com/office/drawing/2014/main" xmlns="" id="{4CE5E4E6-EE3D-0C45-A82A-5EB7C290F263}"/>
              </a:ext>
            </a:extLst>
          </p:cNvPr>
          <p:cNvPicPr>
            <a:picLocks noChangeAspect="1"/>
          </p:cNvPicPr>
          <p:nvPr userDrawn="1"/>
        </p:nvPicPr>
        <p:blipFill>
          <a:blip r:embed="rId6"/>
          <a:stretch>
            <a:fillRect/>
          </a:stretch>
        </p:blipFill>
        <p:spPr>
          <a:xfrm>
            <a:off x="11395287" y="332656"/>
            <a:ext cx="538664" cy="525968"/>
          </a:xfrm>
          <a:prstGeom prst="rect">
            <a:avLst/>
          </a:prstGeom>
        </p:spPr>
      </p:pic>
    </p:spTree>
    <p:extLst>
      <p:ext uri="{BB962C8B-B14F-4D97-AF65-F5344CB8AC3E}">
        <p14:creationId xmlns:p14="http://schemas.microsoft.com/office/powerpoint/2010/main" val="2341800200"/>
      </p:ext>
    </p:extLst>
  </p:cSld>
  <p:clrMapOvr>
    <a:masterClrMapping/>
  </p:clrMapOvr>
  <p:extLst>
    <p:ext uri="{DCECCB84-F9BA-43D5-87BE-67443E8EF086}">
      <p15:sldGuideLst xmlns:p15="http://schemas.microsoft.com/office/powerpoint/2012/main">
        <p15:guide id="1" orient="horz" pos="210">
          <p15:clr>
            <a:srgbClr val="FBAE40"/>
          </p15:clr>
        </p15:guide>
        <p15:guide id="2" pos="21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1833" name="Diapositiva de think-cell" r:id="rId4" imgW="530" imgH="531" progId="TCLayout.ActiveDocument.1">
                  <p:embed/>
                </p:oleObj>
              </mc:Choice>
              <mc:Fallback>
                <p:oleObj name="Diapositiva de think-cell" r:id="rId4" imgW="530" imgH="531" progId="TCLayout.ActiveDocument.1">
                  <p:embed/>
                  <p:pic>
                    <p:nvPicPr>
                      <p:cNvPr id="0" name=""/>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pic>
        <p:nvPicPr>
          <p:cNvPr id="7" name="Imagen 6">
            <a:extLst>
              <a:ext uri="{FF2B5EF4-FFF2-40B4-BE49-F238E27FC236}">
                <a16:creationId xmlns:a16="http://schemas.microsoft.com/office/drawing/2014/main" xmlns="" id="{D9568E4B-2965-DB48-AD36-9C9815BC315F}"/>
              </a:ext>
            </a:extLst>
          </p:cNvPr>
          <p:cNvPicPr>
            <a:picLocks noChangeAspect="1"/>
          </p:cNvPicPr>
          <p:nvPr userDrawn="1"/>
        </p:nvPicPr>
        <p:blipFill>
          <a:blip r:embed="rId6"/>
          <a:stretch>
            <a:fillRect/>
          </a:stretch>
        </p:blipFill>
        <p:spPr>
          <a:xfrm>
            <a:off x="11412717" y="122810"/>
            <a:ext cx="538664" cy="525968"/>
          </a:xfrm>
          <a:prstGeom prst="rect">
            <a:avLst/>
          </a:prstGeom>
        </p:spPr>
      </p:pic>
    </p:spTree>
    <p:extLst>
      <p:ext uri="{BB962C8B-B14F-4D97-AF65-F5344CB8AC3E}">
        <p14:creationId xmlns:p14="http://schemas.microsoft.com/office/powerpoint/2010/main" val="1710902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32857"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xmlns="" id="{1874AA6A-5D55-454E-A0E7-53B1750E728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484990" y="1484784"/>
            <a:ext cx="7222019" cy="4060403"/>
          </a:xfrm>
          <a:prstGeom prst="rect">
            <a:avLst/>
          </a:prstGeom>
        </p:spPr>
      </p:pic>
    </p:spTree>
    <p:extLst>
      <p:ext uri="{BB962C8B-B14F-4D97-AF65-F5344CB8AC3E}">
        <p14:creationId xmlns:p14="http://schemas.microsoft.com/office/powerpoint/2010/main" val="28726276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33881"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9" name="5 Marcador de número de diapositiva"/>
          <p:cNvSpPr>
            <a:spLocks noGrp="1"/>
          </p:cNvSpPr>
          <p:nvPr>
            <p:ph type="sldNum" sz="quarter" idx="4"/>
          </p:nvPr>
        </p:nvSpPr>
        <p:spPr>
          <a:xfrm>
            <a:off x="11664619" y="6488968"/>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1" name="4 Marcador de pie de página"/>
          <p:cNvSpPr>
            <a:spLocks noGrp="1"/>
          </p:cNvSpPr>
          <p:nvPr>
            <p:ph type="ftr" sz="quarter" idx="3"/>
          </p:nvPr>
        </p:nvSpPr>
        <p:spPr>
          <a:xfrm>
            <a:off x="527381" y="6488968"/>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sp>
        <p:nvSpPr>
          <p:cNvPr id="7" name="1 Marcador de título"/>
          <p:cNvSpPr>
            <a:spLocks noGrp="1"/>
          </p:cNvSpPr>
          <p:nvPr>
            <p:ph type="title"/>
          </p:nvPr>
        </p:nvSpPr>
        <p:spPr bwMode="auto">
          <a:xfrm>
            <a:off x="527384" y="168900"/>
            <a:ext cx="108492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l"/>
            <a:r>
              <a:rPr lang="es-ES" altLang="es-CL"/>
              <a:t>Haga clic para modificar el estilo de título del patrón</a:t>
            </a:r>
            <a:endParaRPr lang="es-CL" altLang="es-CL"/>
          </a:p>
        </p:txBody>
      </p:sp>
      <p:sp>
        <p:nvSpPr>
          <p:cNvPr id="14" name="6 Rectángulo"/>
          <p:cNvSpPr/>
          <p:nvPr userDrawn="1"/>
        </p:nvSpPr>
        <p:spPr>
          <a:xfrm>
            <a:off x="0" y="6669384"/>
            <a:ext cx="12192000" cy="216000"/>
          </a:xfrm>
          <a:prstGeom prst="rect">
            <a:avLst/>
          </a:prstGeom>
          <a:solidFill>
            <a:srgbClr val="1E6C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s-CL">
              <a:solidFill>
                <a:srgbClr val="FFFFFF"/>
              </a:solidFill>
            </a:endParaRPr>
          </a:p>
        </p:txBody>
      </p:sp>
      <p:pic>
        <p:nvPicPr>
          <p:cNvPr id="8" name="Imagen 7">
            <a:extLst>
              <a:ext uri="{FF2B5EF4-FFF2-40B4-BE49-F238E27FC236}">
                <a16:creationId xmlns:a16="http://schemas.microsoft.com/office/drawing/2014/main" xmlns="" id="{EB910A14-44EA-D344-A02C-C0F397F33ACC}"/>
              </a:ext>
            </a:extLst>
          </p:cNvPr>
          <p:cNvPicPr>
            <a:picLocks noChangeAspect="1"/>
          </p:cNvPicPr>
          <p:nvPr userDrawn="1"/>
        </p:nvPicPr>
        <p:blipFill>
          <a:blip r:embed="rId6"/>
          <a:stretch>
            <a:fillRect/>
          </a:stretch>
        </p:blipFill>
        <p:spPr>
          <a:xfrm>
            <a:off x="11412717" y="122810"/>
            <a:ext cx="538664" cy="525968"/>
          </a:xfrm>
          <a:prstGeom prst="rect">
            <a:avLst/>
          </a:prstGeom>
        </p:spPr>
      </p:pic>
    </p:spTree>
    <p:extLst>
      <p:ext uri="{BB962C8B-B14F-4D97-AF65-F5344CB8AC3E}">
        <p14:creationId xmlns:p14="http://schemas.microsoft.com/office/powerpoint/2010/main" val="27263127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490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A9506D9B-8072-4B9F-A3BF-7430256947A3}"/>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11" name="1 Marcador de título">
            <a:extLst>
              <a:ext uri="{FF2B5EF4-FFF2-40B4-BE49-F238E27FC236}">
                <a16:creationId xmlns:a16="http://schemas.microsoft.com/office/drawing/2014/main" xmlns="" id="{E5585562-96BC-6F49-A0C2-FA002EE4F27A}"/>
              </a:ext>
            </a:extLst>
          </p:cNvPr>
          <p:cNvSpPr>
            <a:spLocks noGrp="1"/>
          </p:cNvSpPr>
          <p:nvPr>
            <p:ph type="title" hasCustomPrompt="1"/>
          </p:nvPr>
        </p:nvSpPr>
        <p:spPr bwMode="auto">
          <a:xfrm>
            <a:off x="334963" y="333375"/>
            <a:ext cx="108496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solidFill>
                  <a:schemeClr val="tx1">
                    <a:lumMod val="65000"/>
                    <a:lumOff val="35000"/>
                  </a:schemeClr>
                </a:solidFill>
              </a:defRPr>
            </a:lvl1pPr>
          </a:lstStyle>
          <a:p>
            <a:pPr lvl="0" algn="l"/>
            <a:r>
              <a:rPr lang="es-ES" altLang="es-CL"/>
              <a:t>Haga clic para modificar estilo de título del patrón</a:t>
            </a:r>
            <a:endParaRPr lang="es-CL" altLang="es-CL"/>
          </a:p>
        </p:txBody>
      </p:sp>
      <p:cxnSp>
        <p:nvCxnSpPr>
          <p:cNvPr id="15" name="Conector recto 14">
            <a:extLst>
              <a:ext uri="{FF2B5EF4-FFF2-40B4-BE49-F238E27FC236}">
                <a16:creationId xmlns:a16="http://schemas.microsoft.com/office/drawing/2014/main" xmlns="" id="{8F26805D-8D2F-964C-841C-BA2BF00F6314}"/>
              </a:ext>
            </a:extLst>
          </p:cNvPr>
          <p:cNvCxnSpPr>
            <a:cxnSpLocks/>
          </p:cNvCxnSpPr>
          <p:nvPr userDrawn="1"/>
        </p:nvCxnSpPr>
        <p:spPr>
          <a:xfrm>
            <a:off x="334963" y="1124744"/>
            <a:ext cx="11598988" cy="0"/>
          </a:xfrm>
          <a:prstGeom prst="line">
            <a:avLst/>
          </a:prstGeom>
          <a:ln w="381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7" name="Imagen 6" descr="Imagen que contiene dibujo&#10;&#10;Descripción generada automáticamente">
            <a:extLst>
              <a:ext uri="{FF2B5EF4-FFF2-40B4-BE49-F238E27FC236}">
                <a16:creationId xmlns:a16="http://schemas.microsoft.com/office/drawing/2014/main" xmlns="" id="{7552A45B-E169-6F45-B8C5-180D7C19945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95287" y="332656"/>
            <a:ext cx="538665" cy="525969"/>
          </a:xfrm>
          <a:prstGeom prst="rect">
            <a:avLst/>
          </a:prstGeom>
        </p:spPr>
      </p:pic>
    </p:spTree>
    <p:extLst>
      <p:ext uri="{BB962C8B-B14F-4D97-AF65-F5344CB8AC3E}">
        <p14:creationId xmlns:p14="http://schemas.microsoft.com/office/powerpoint/2010/main" val="4133043804"/>
      </p:ext>
    </p:extLst>
  </p:cSld>
  <p:clrMapOvr>
    <a:masterClrMapping/>
  </p:clrMapOvr>
  <p:extLst>
    <p:ext uri="{DCECCB84-F9BA-43D5-87BE-67443E8EF086}">
      <p15:sldGuideLst xmlns:p15="http://schemas.microsoft.com/office/powerpoint/2012/main">
        <p15:guide id="1" pos="211">
          <p15:clr>
            <a:srgbClr val="FBAE40"/>
          </p15:clr>
        </p15:guide>
        <p15:guide id="2" pos="75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6473" name="Diapositiva de think-cell" r:id="rId7" imgW="270" imgH="270" progId="TCLayout.ActiveDocument.1">
                  <p:embed/>
                </p:oleObj>
              </mc:Choice>
              <mc:Fallback>
                <p:oleObj name="Diapositiva de think-cell" r:id="rId7" imgW="270" imgH="270" progId="TCLayout.ActiveDocument.1">
                  <p:embed/>
                  <p:pic>
                    <p:nvPicPr>
                      <p:cNvPr id="0" name=""/>
                      <p:cNvPicPr/>
                      <p:nvPr/>
                    </p:nvPicPr>
                    <p:blipFill>
                      <a:blip r:embed="rId8"/>
                      <a:stretch>
                        <a:fillRect/>
                      </a:stretch>
                    </p:blipFill>
                    <p:spPr>
                      <a:xfrm>
                        <a:off x="1" y="0"/>
                        <a:ext cx="211667" cy="158750"/>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xmlns="" id="{0FF691A4-4A4E-41BF-A5E3-C185DD262449}"/>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400" b="1">
              <a:solidFill>
                <a:srgbClr val="FFFFFF"/>
              </a:solidFill>
              <a:latin typeface="Arial" pitchFamily="34" charset="0"/>
              <a:cs typeface="Arial" pitchFamily="34" charset="0"/>
              <a:sym typeface="Arial" panose="020B0604020202020204" pitchFamily="34" charset="0"/>
            </a:endParaRPr>
          </a:p>
        </p:txBody>
      </p:sp>
      <p:sp>
        <p:nvSpPr>
          <p:cNvPr id="14" name="1 Título"/>
          <p:cNvSpPr>
            <a:spLocks noGrp="1"/>
          </p:cNvSpPr>
          <p:nvPr>
            <p:ph type="ctrTitle" hasCustomPrompt="1"/>
            <p:custDataLst>
              <p:tags r:id="rId4"/>
            </p:custDataLst>
          </p:nvPr>
        </p:nvSpPr>
        <p:spPr>
          <a:xfrm>
            <a:off x="5327915" y="4581128"/>
            <a:ext cx="5472608" cy="1080120"/>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1" cap="none">
                <a:solidFill>
                  <a:srgbClr val="086837"/>
                </a:solidFill>
                <a:latin typeface="Arial" charset="0"/>
                <a:cs typeface="Arial" charset="0"/>
              </a:defRPr>
            </a:lvl1pPr>
          </a:lstStyle>
          <a:p>
            <a:pPr lvl="0"/>
            <a:r>
              <a:rPr lang="es-ES"/>
              <a:t>HAGA CLIC PARA MODIFICAR EL ESTILO DE TÍTULO DEL PATRÓN</a:t>
            </a:r>
            <a:endParaRPr lang="es-CL"/>
          </a:p>
        </p:txBody>
      </p:sp>
      <p:sp>
        <p:nvSpPr>
          <p:cNvPr id="15" name="2 Subtítulo"/>
          <p:cNvSpPr>
            <a:spLocks noGrp="1"/>
          </p:cNvSpPr>
          <p:nvPr>
            <p:ph type="subTitle" idx="1" hasCustomPrompt="1"/>
            <p:custDataLst>
              <p:tags r:id="rId5"/>
            </p:custDataLst>
          </p:nvPr>
        </p:nvSpPr>
        <p:spPr>
          <a:xfrm>
            <a:off x="5327915" y="6165304"/>
            <a:ext cx="5472608"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a:t>Haga clic para agregar fecha</a:t>
            </a:r>
            <a:endParaRPr lang="es-CL"/>
          </a:p>
        </p:txBody>
      </p:sp>
      <p:cxnSp>
        <p:nvCxnSpPr>
          <p:cNvPr id="8" name="Conector recto 7"/>
          <p:cNvCxnSpPr/>
          <p:nvPr userDrawn="1"/>
        </p:nvCxnSpPr>
        <p:spPr>
          <a:xfrm>
            <a:off x="4997229" y="4581131"/>
            <a:ext cx="0" cy="2281733"/>
          </a:xfrm>
          <a:prstGeom prst="line">
            <a:avLst/>
          </a:prstGeom>
          <a:ln w="12700" cmpd="sng">
            <a:solidFill>
              <a:srgbClr val="086837"/>
            </a:solidFill>
          </a:ln>
          <a:effectLst/>
        </p:spPr>
        <p:style>
          <a:lnRef idx="2">
            <a:schemeClr val="accent1"/>
          </a:lnRef>
          <a:fillRef idx="0">
            <a:schemeClr val="accent1"/>
          </a:fillRef>
          <a:effectRef idx="1">
            <a:schemeClr val="accent1"/>
          </a:effectRef>
          <a:fontRef idx="minor">
            <a:schemeClr val="tx1"/>
          </a:fontRef>
        </p:style>
      </p:cxnSp>
      <p:pic>
        <p:nvPicPr>
          <p:cNvPr id="10" name="Imagen 9">
            <a:extLst>
              <a:ext uri="{FF2B5EF4-FFF2-40B4-BE49-F238E27FC236}">
                <a16:creationId xmlns:a16="http://schemas.microsoft.com/office/drawing/2014/main" xmlns="" id="{90392ED8-10A9-8348-959B-83F6D11900DF}"/>
              </a:ext>
            </a:extLst>
          </p:cNvPr>
          <p:cNvPicPr>
            <a:picLocks noChangeAspect="1"/>
          </p:cNvPicPr>
          <p:nvPr userDrawn="1"/>
        </p:nvPicPr>
        <p:blipFill>
          <a:blip r:embed="rId9"/>
          <a:stretch>
            <a:fillRect/>
          </a:stretch>
        </p:blipFill>
        <p:spPr>
          <a:xfrm>
            <a:off x="3262182" y="4587039"/>
            <a:ext cx="1404362" cy="1371263"/>
          </a:xfrm>
          <a:prstGeom prst="rect">
            <a:avLst/>
          </a:prstGeom>
        </p:spPr>
      </p:pic>
    </p:spTree>
    <p:extLst>
      <p:ext uri="{BB962C8B-B14F-4D97-AF65-F5344CB8AC3E}">
        <p14:creationId xmlns:p14="http://schemas.microsoft.com/office/powerpoint/2010/main" val="1760664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02"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CL"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8587C1AE-A5E7-0649-8C35-50561BEA60A0}"/>
              </a:ext>
            </a:extLst>
          </p:cNvPr>
          <p:cNvSpPr>
            <a:spLocks noGrp="1"/>
          </p:cNvSpPr>
          <p:nvPr>
            <p:ph type="title"/>
          </p:nvPr>
        </p:nvSpPr>
        <p:spPr>
          <a:xfrm>
            <a:off x="587375" y="441325"/>
            <a:ext cx="8800070" cy="1325563"/>
          </a:xfrm>
          <a:prstGeom prst="rect">
            <a:avLst/>
          </a:prstGeom>
        </p:spPr>
        <p:txBody>
          <a:bodyPr>
            <a:normAutofit/>
          </a:bodyPr>
          <a:lstStyle>
            <a:lvl1pPr>
              <a:defRPr sz="3600" b="1">
                <a:solidFill>
                  <a:srgbClr val="004A51"/>
                </a:solidFill>
                <a:latin typeface="Arial" panose="020B0604020202020204" pitchFamily="34" charset="0"/>
                <a:cs typeface="Arial" panose="020B0604020202020204" pitchFamily="34" charset="0"/>
              </a:defRPr>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367B9D02-F56D-6A42-99A7-C72B6E7C2044}"/>
              </a:ext>
            </a:extLst>
          </p:cNvPr>
          <p:cNvSpPr>
            <a:spLocks noGrp="1"/>
          </p:cNvSpPr>
          <p:nvPr>
            <p:ph idx="1"/>
          </p:nvPr>
        </p:nvSpPr>
        <p:spPr>
          <a:xfrm>
            <a:off x="587375" y="2005012"/>
            <a:ext cx="11017250" cy="4351338"/>
          </a:xfrm>
          <a:prstGeom prst="rect">
            <a:avLst/>
          </a:prstGeom>
        </p:spPr>
        <p:txBody>
          <a:bodyPr/>
          <a:lstStyle>
            <a:lvl1pPr marL="2286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1pPr>
            <a:lvl2pPr marL="6858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2pPr>
            <a:lvl3pPr marL="11430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3pPr>
            <a:lvl4pPr marL="16002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4pPr>
            <a:lvl5pPr marL="20574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Tree>
    <p:extLst>
      <p:ext uri="{BB962C8B-B14F-4D97-AF65-F5344CB8AC3E}">
        <p14:creationId xmlns:p14="http://schemas.microsoft.com/office/powerpoint/2010/main" val="3868674416"/>
      </p:ext>
    </p:extLst>
  </p:cSld>
  <p:clrMapOvr>
    <a:masterClrMapping/>
  </p:clrMapOvr>
  <p:extLst mod="1">
    <p:ext uri="{DCECCB84-F9BA-43D5-87BE-67443E8EF086}">
      <p15:sldGuideLst xmlns:p15="http://schemas.microsoft.com/office/powerpoint/2012/main">
        <p15:guide id="1" pos="7310">
          <p15:clr>
            <a:srgbClr val="FBAE40"/>
          </p15:clr>
        </p15:guide>
        <p15:guide id="2" orient="horz" pos="4065">
          <p15:clr>
            <a:srgbClr val="FBAE40"/>
          </p15:clr>
        </p15:guide>
        <p15:guide id="3" pos="347">
          <p15:clr>
            <a:srgbClr val="FBAE40"/>
          </p15:clr>
        </p15:guide>
        <p15:guide id="4" orient="horz" pos="27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solidFill>
          <a:srgbClr val="004A5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50"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704F7FCC-439D-B94C-A689-2CC350BDEB23}"/>
              </a:ext>
            </a:extLst>
          </p:cNvPr>
          <p:cNvSpPr>
            <a:spLocks noGrp="1"/>
          </p:cNvSpPr>
          <p:nvPr>
            <p:ph type="ctrTitle" hasCustomPrompt="1"/>
          </p:nvPr>
        </p:nvSpPr>
        <p:spPr>
          <a:xfrm>
            <a:off x="551579" y="1983138"/>
            <a:ext cx="10017551" cy="2387600"/>
          </a:xfrm>
        </p:spPr>
        <p:txBody>
          <a:bodyPr anchor="b">
            <a:normAutofit/>
          </a:bodyPr>
          <a:lstStyle>
            <a:lvl1pPr algn="l">
              <a:defRPr lang="es-CL" sz="3600" b="1" kern="1200" spc="-150" dirty="0">
                <a:solidFill>
                  <a:schemeClr val="bg1"/>
                </a:solidFill>
                <a:latin typeface="Arial" panose="020B0604020202020204" pitchFamily="34" charset="0"/>
                <a:ea typeface="+mj-ea"/>
                <a:cs typeface="Arial" panose="020B0604020202020204" pitchFamily="34" charset="0"/>
              </a:defRPr>
            </a:lvl1pPr>
          </a:lstStyle>
          <a:p>
            <a:r>
              <a:rPr lang="es-CL" dirty="0" smtClean="0"/>
              <a:t>HAGA CLIC PARA MODIFICAR EL ESTILO DE TÍTULO DEL PATRÓN</a:t>
            </a:r>
            <a:endParaRPr lang="es-CL" dirty="0"/>
          </a:p>
        </p:txBody>
      </p:sp>
      <p:sp>
        <p:nvSpPr>
          <p:cNvPr id="3" name="Subtítulo 2">
            <a:extLst>
              <a:ext uri="{FF2B5EF4-FFF2-40B4-BE49-F238E27FC236}">
                <a16:creationId xmlns="" xmlns:a16="http://schemas.microsoft.com/office/drawing/2014/main" id="{EE10EA85-8C5A-7842-B0BA-B08D20BBD140}"/>
              </a:ext>
            </a:extLst>
          </p:cNvPr>
          <p:cNvSpPr>
            <a:spLocks noGrp="1"/>
          </p:cNvSpPr>
          <p:nvPr>
            <p:ph type="subTitle" idx="1" hasCustomPrompt="1"/>
          </p:nvPr>
        </p:nvSpPr>
        <p:spPr>
          <a:xfrm>
            <a:off x="551578" y="6018714"/>
            <a:ext cx="10017551" cy="438647"/>
          </a:xfrm>
        </p:spPr>
        <p:txBody>
          <a:bodyPr>
            <a:normAutofit/>
          </a:bodyPr>
          <a:lstStyle>
            <a:lvl1pPr marL="0" indent="0" algn="l">
              <a:buNone/>
              <a:defRPr lang="es-CL" sz="1400" kern="1200" dirty="0">
                <a:solidFill>
                  <a:schemeClr val="accent5">
                    <a:lumMod val="60000"/>
                    <a:lumOff val="40000"/>
                  </a:schemeClr>
                </a:solidFill>
                <a:latin typeface="Arial"/>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L" dirty="0" smtClean="0"/>
              <a:t>Nombre expositor | Cargo expositor | Mes 2020</a:t>
            </a:r>
            <a:endParaRPr lang="es-CL" dirty="0"/>
          </a:p>
        </p:txBody>
      </p:sp>
      <p:pic>
        <p:nvPicPr>
          <p:cNvPr id="9" name="Imagen 8">
            <a:extLst>
              <a:ext uri="{FF2B5EF4-FFF2-40B4-BE49-F238E27FC236}">
                <a16:creationId xmlns="" xmlns:a16="http://schemas.microsoft.com/office/drawing/2014/main" id="{D44B7779-E965-CA4D-9EA5-DA5B5C7334E6}"/>
              </a:ext>
            </a:extLst>
          </p:cNvPr>
          <p:cNvPicPr>
            <a:picLocks noChangeAspect="1"/>
          </p:cNvPicPr>
          <p:nvPr userDrawn="1"/>
        </p:nvPicPr>
        <p:blipFill>
          <a:blip r:embed="rId7"/>
          <a:stretch>
            <a:fillRect/>
          </a:stretch>
        </p:blipFill>
        <p:spPr>
          <a:xfrm>
            <a:off x="11006138" y="441325"/>
            <a:ext cx="635000" cy="635000"/>
          </a:xfrm>
          <a:prstGeom prst="rect">
            <a:avLst/>
          </a:prstGeom>
        </p:spPr>
      </p:pic>
      <p:pic>
        <p:nvPicPr>
          <p:cNvPr id="10" name="Imagen 9">
            <a:extLst>
              <a:ext uri="{FF2B5EF4-FFF2-40B4-BE49-F238E27FC236}">
                <a16:creationId xmlns="" xmlns:a16="http://schemas.microsoft.com/office/drawing/2014/main" id="{8570EFBA-24C9-D642-9F28-8868099872F5}"/>
              </a:ext>
            </a:extLst>
          </p:cNvPr>
          <p:cNvPicPr>
            <a:picLocks noChangeAspect="1"/>
          </p:cNvPicPr>
          <p:nvPr userDrawn="1"/>
        </p:nvPicPr>
        <p:blipFill>
          <a:blip r:embed="rId8"/>
          <a:stretch>
            <a:fillRect/>
          </a:stretch>
        </p:blipFill>
        <p:spPr>
          <a:xfrm>
            <a:off x="551578" y="1983138"/>
            <a:ext cx="6284762" cy="991398"/>
          </a:xfrm>
          <a:prstGeom prst="rect">
            <a:avLst/>
          </a:prstGeom>
        </p:spPr>
      </p:pic>
    </p:spTree>
    <p:extLst>
      <p:ext uri="{BB962C8B-B14F-4D97-AF65-F5344CB8AC3E}">
        <p14:creationId xmlns:p14="http://schemas.microsoft.com/office/powerpoint/2010/main" val="1565310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74"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8587C1AE-A5E7-0649-8C35-50561BEA60A0}"/>
              </a:ext>
            </a:extLst>
          </p:cNvPr>
          <p:cNvSpPr>
            <a:spLocks noGrp="1"/>
          </p:cNvSpPr>
          <p:nvPr>
            <p:ph type="title"/>
          </p:nvPr>
        </p:nvSpPr>
        <p:spPr>
          <a:xfrm>
            <a:off x="587375" y="441325"/>
            <a:ext cx="8800070" cy="1325563"/>
          </a:xfrm>
        </p:spPr>
        <p:txBody>
          <a:bodyPr>
            <a:normAutofit/>
          </a:bodyPr>
          <a:lstStyle>
            <a:lvl1pPr>
              <a:defRPr sz="3600" b="1">
                <a:solidFill>
                  <a:srgbClr val="004A51"/>
                </a:solidFill>
                <a:latin typeface="Arial" panose="020B0604020202020204" pitchFamily="34" charset="0"/>
                <a:cs typeface="Arial" panose="020B0604020202020204" pitchFamily="34" charset="0"/>
              </a:defRPr>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367B9D02-F56D-6A42-99A7-C72B6E7C2044}"/>
              </a:ext>
            </a:extLst>
          </p:cNvPr>
          <p:cNvSpPr>
            <a:spLocks noGrp="1"/>
          </p:cNvSpPr>
          <p:nvPr>
            <p:ph idx="1"/>
          </p:nvPr>
        </p:nvSpPr>
        <p:spPr>
          <a:xfrm>
            <a:off x="587375" y="2005012"/>
            <a:ext cx="11017250" cy="4351338"/>
          </a:xfrm>
        </p:spPr>
        <p:txBody>
          <a:bodyPr/>
          <a:lstStyle>
            <a:lvl1pPr marL="2286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1pPr>
            <a:lvl2pPr marL="6858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2pPr>
            <a:lvl3pPr marL="11430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3pPr>
            <a:lvl4pPr marL="16002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4pPr>
            <a:lvl5pPr marL="20574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Tree>
    <p:extLst>
      <p:ext uri="{BB962C8B-B14F-4D97-AF65-F5344CB8AC3E}">
        <p14:creationId xmlns:p14="http://schemas.microsoft.com/office/powerpoint/2010/main" val="1821311267"/>
      </p:ext>
    </p:extLst>
  </p:cSld>
  <p:clrMapOvr>
    <a:masterClrMapping/>
  </p:clrMapOvr>
  <p:extLst mod="1">
    <p:ext uri="{DCECCB84-F9BA-43D5-87BE-67443E8EF086}">
      <p15:sldGuideLst xmlns:p15="http://schemas.microsoft.com/office/powerpoint/2012/main">
        <p15:guide id="1" pos="7310">
          <p15:clr>
            <a:srgbClr val="FBAE40"/>
          </p15:clr>
        </p15:guide>
        <p15:guide id="2" orient="horz" pos="4065">
          <p15:clr>
            <a:srgbClr val="FBAE40"/>
          </p15:clr>
        </p15:guide>
        <p15:guide id="3" pos="347">
          <p15:clr>
            <a:srgbClr val="FBAE40"/>
          </p15:clr>
        </p15:guide>
        <p15:guide id="4" orient="horz" pos="27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98"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54B08C72-8C35-6842-B3D0-5642ECFC8C3A}"/>
              </a:ext>
            </a:extLst>
          </p:cNvPr>
          <p:cNvSpPr>
            <a:spLocks noGrp="1"/>
          </p:cNvSpPr>
          <p:nvPr>
            <p:ph type="title"/>
          </p:nvPr>
        </p:nvSpPr>
        <p:spPr>
          <a:xfrm>
            <a:off x="587375" y="433622"/>
            <a:ext cx="8023225" cy="1325563"/>
          </a:xfrm>
        </p:spPr>
        <p:txBody>
          <a:bodyPr/>
          <a:lstStyle>
            <a:lvl1pPr>
              <a:defRPr lang="es-ES" sz="3600" b="1" kern="1200" dirty="0" smtClean="0">
                <a:solidFill>
                  <a:srgbClr val="004A51"/>
                </a:solidFill>
                <a:latin typeface="Arial" panose="020B0604020202020204" pitchFamily="34" charset="0"/>
                <a:ea typeface="+mj-ea"/>
                <a:cs typeface="Arial" panose="020B0604020202020204" pitchFamily="34" charset="0"/>
              </a:defRPr>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83794A0C-F56F-454B-A5FE-9B96617C4EAF}"/>
              </a:ext>
            </a:extLst>
          </p:cNvPr>
          <p:cNvSpPr>
            <a:spLocks noGrp="1"/>
          </p:cNvSpPr>
          <p:nvPr>
            <p:ph sz="half" idx="1"/>
          </p:nvPr>
        </p:nvSpPr>
        <p:spPr>
          <a:xfrm>
            <a:off x="587375" y="2073040"/>
            <a:ext cx="5181600" cy="4351338"/>
          </a:xfrm>
        </p:spPr>
        <p:txBody>
          <a:bodyPr/>
          <a:lstStyle>
            <a:lvl1pPr marL="2286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buClr>
                <a:srgbClr val="8A004A"/>
              </a:buClr>
              <a:buFont typeface="Wingdings" pitchFamily="2" charset="2"/>
              <a:buChar char="§"/>
              <a:defRPr lang="es-CL" sz="2800" kern="1200" dirty="0">
                <a:solidFill>
                  <a:schemeClr val="tx1">
                    <a:lumMod val="75000"/>
                    <a:lumOff val="25000"/>
                  </a:schemeClr>
                </a:solidFill>
                <a:latin typeface="Arial" panose="020B0604020202020204" pitchFamily="34" charset="0"/>
                <a:ea typeface="+mn-ea"/>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4" name="Marcador de contenido 3">
            <a:extLst>
              <a:ext uri="{FF2B5EF4-FFF2-40B4-BE49-F238E27FC236}">
                <a16:creationId xmlns="" xmlns:a16="http://schemas.microsoft.com/office/drawing/2014/main" id="{DA7B3989-CBD2-6147-BBE6-7F7CAD27A863}"/>
              </a:ext>
            </a:extLst>
          </p:cNvPr>
          <p:cNvSpPr>
            <a:spLocks noGrp="1"/>
          </p:cNvSpPr>
          <p:nvPr>
            <p:ph sz="half" idx="2"/>
          </p:nvPr>
        </p:nvSpPr>
        <p:spPr>
          <a:xfrm>
            <a:off x="6423027" y="2073040"/>
            <a:ext cx="5181600" cy="4351338"/>
          </a:xfrm>
        </p:spPr>
        <p:txBody>
          <a:bodyPr/>
          <a:lstStyle>
            <a:lvl1pPr marL="2286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buClr>
                <a:srgbClr val="8A004A"/>
              </a:buClr>
              <a:buFont typeface="Wingdings" pitchFamily="2" charset="2"/>
              <a:buChar char="§"/>
              <a:defRPr lang="es-CL"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Tree>
    <p:extLst>
      <p:ext uri="{BB962C8B-B14F-4D97-AF65-F5344CB8AC3E}">
        <p14:creationId xmlns:p14="http://schemas.microsoft.com/office/powerpoint/2010/main" val="31471315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22"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44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ED5B3B49-219B-0D42-ADA8-8D2003F7B544}"/>
              </a:ext>
            </a:extLst>
          </p:cNvPr>
          <p:cNvSpPr>
            <a:spLocks noGrp="1"/>
          </p:cNvSpPr>
          <p:nvPr>
            <p:ph type="title"/>
          </p:nvPr>
        </p:nvSpPr>
        <p:spPr>
          <a:xfrm>
            <a:off x="839788" y="365125"/>
            <a:ext cx="10515600" cy="1325563"/>
          </a:xfrm>
        </p:spPr>
        <p:txBody>
          <a:bodyPr/>
          <a:lstStyle/>
          <a:p>
            <a:r>
              <a:rPr lang="es-CL" dirty="0" smtClean="0"/>
              <a:t>Haga clic para modificar el estilo de título del patrón</a:t>
            </a:r>
            <a:endParaRPr lang="es-CL" dirty="0"/>
          </a:p>
        </p:txBody>
      </p:sp>
      <p:sp>
        <p:nvSpPr>
          <p:cNvPr id="3" name="Marcador de texto 2">
            <a:extLst>
              <a:ext uri="{FF2B5EF4-FFF2-40B4-BE49-F238E27FC236}">
                <a16:creationId xmlns="" xmlns:a16="http://schemas.microsoft.com/office/drawing/2014/main" id="{1E79219E-6FDB-E245-83E7-DEF2ADD35A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L" dirty="0" smtClean="0"/>
              <a:t>Haga clic para modificar los estilos de texto del patrón</a:t>
            </a:r>
            <a:endParaRPr lang="es-CL" dirty="0"/>
          </a:p>
        </p:txBody>
      </p:sp>
      <p:sp>
        <p:nvSpPr>
          <p:cNvPr id="4" name="Marcador de contenido 3">
            <a:extLst>
              <a:ext uri="{FF2B5EF4-FFF2-40B4-BE49-F238E27FC236}">
                <a16:creationId xmlns="" xmlns:a16="http://schemas.microsoft.com/office/drawing/2014/main" id="{1E4B80B7-29E6-5E4A-88A0-AC9A532B609B}"/>
              </a:ext>
            </a:extLst>
          </p:cNvPr>
          <p:cNvSpPr>
            <a:spLocks noGrp="1"/>
          </p:cNvSpPr>
          <p:nvPr>
            <p:ph sz="half" idx="2"/>
          </p:nvPr>
        </p:nvSpPr>
        <p:spPr>
          <a:xfrm>
            <a:off x="839788" y="2505075"/>
            <a:ext cx="5157787" cy="3684588"/>
          </a:xfrm>
        </p:spPr>
        <p:txBody>
          <a:body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5" name="Marcador de texto 4">
            <a:extLst>
              <a:ext uri="{FF2B5EF4-FFF2-40B4-BE49-F238E27FC236}">
                <a16:creationId xmlns="" xmlns:a16="http://schemas.microsoft.com/office/drawing/2014/main" id="{E12A623D-AB14-2849-B7E9-18992D4CC4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L" dirty="0" smtClean="0"/>
              <a:t>Haga clic para modificar los estilos de texto del patrón</a:t>
            </a:r>
            <a:endParaRPr lang="es-CL" dirty="0"/>
          </a:p>
        </p:txBody>
      </p:sp>
      <p:sp>
        <p:nvSpPr>
          <p:cNvPr id="6" name="Marcador de contenido 5">
            <a:extLst>
              <a:ext uri="{FF2B5EF4-FFF2-40B4-BE49-F238E27FC236}">
                <a16:creationId xmlns="" xmlns:a16="http://schemas.microsoft.com/office/drawing/2014/main" id="{F324C1C9-AA68-764B-A730-B9122E09268C}"/>
              </a:ext>
            </a:extLst>
          </p:cNvPr>
          <p:cNvSpPr>
            <a:spLocks noGrp="1"/>
          </p:cNvSpPr>
          <p:nvPr>
            <p:ph sz="quarter" idx="4"/>
          </p:nvPr>
        </p:nvSpPr>
        <p:spPr>
          <a:xfrm>
            <a:off x="6172200" y="2505075"/>
            <a:ext cx="5183188" cy="3684588"/>
          </a:xfrm>
        </p:spPr>
        <p:txBody>
          <a:body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7" name="Marcador de fecha 6">
            <a:extLst>
              <a:ext uri="{FF2B5EF4-FFF2-40B4-BE49-F238E27FC236}">
                <a16:creationId xmlns="" xmlns:a16="http://schemas.microsoft.com/office/drawing/2014/main" id="{CA715959-0E60-7243-BA95-1FB60F29F4F6}"/>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8" name="Marcador de pie de página 7">
            <a:extLst>
              <a:ext uri="{FF2B5EF4-FFF2-40B4-BE49-F238E27FC236}">
                <a16:creationId xmlns="" xmlns:a16="http://schemas.microsoft.com/office/drawing/2014/main" id="{CB1EA694-6976-6E43-A46A-B984C02F7D34}"/>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9" name="Marcador de número de diapositiva 8">
            <a:extLst>
              <a:ext uri="{FF2B5EF4-FFF2-40B4-BE49-F238E27FC236}">
                <a16:creationId xmlns="" xmlns:a16="http://schemas.microsoft.com/office/drawing/2014/main" id="{F7A9FBD2-C251-9042-8824-B98FBCA2CD13}"/>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25206265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46"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44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82EAE6D4-DA38-6D44-A1BD-39FE184D1522}"/>
              </a:ext>
            </a:extLst>
          </p:cNvPr>
          <p:cNvSpPr>
            <a:spLocks noGrp="1"/>
          </p:cNvSpPr>
          <p:nvPr>
            <p:ph type="title"/>
          </p:nvPr>
        </p:nvSpPr>
        <p:spPr/>
        <p:txBody>
          <a:bodyPr/>
          <a:lstStyle/>
          <a:p>
            <a:r>
              <a:rPr lang="es-CL" dirty="0" smtClean="0"/>
              <a:t>Haga clic para modificar el estilo de título del patrón</a:t>
            </a:r>
            <a:endParaRPr lang="es-CL" dirty="0"/>
          </a:p>
        </p:txBody>
      </p:sp>
      <p:sp>
        <p:nvSpPr>
          <p:cNvPr id="3" name="Marcador de fecha 2">
            <a:extLst>
              <a:ext uri="{FF2B5EF4-FFF2-40B4-BE49-F238E27FC236}">
                <a16:creationId xmlns="" xmlns:a16="http://schemas.microsoft.com/office/drawing/2014/main" id="{4C18FEB4-A3F6-A34C-98AC-EADA1C716767}"/>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4" name="Marcador de pie de página 3">
            <a:extLst>
              <a:ext uri="{FF2B5EF4-FFF2-40B4-BE49-F238E27FC236}">
                <a16:creationId xmlns="" xmlns:a16="http://schemas.microsoft.com/office/drawing/2014/main" id="{2C105D90-659C-1E47-BAF6-66C40D243CE4}"/>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5" name="Marcador de número de diapositiva 4">
            <a:extLst>
              <a:ext uri="{FF2B5EF4-FFF2-40B4-BE49-F238E27FC236}">
                <a16:creationId xmlns="" xmlns:a16="http://schemas.microsoft.com/office/drawing/2014/main" id="{C9CA251B-9AC8-F842-A22A-C77F1FFC10B1}"/>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5531151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70" name="Diapositiva de think-cell" r:id="rId4" imgW="415" imgH="416" progId="TCLayout.ActiveDocument.1">
                  <p:embed/>
                </p:oleObj>
              </mc:Choice>
              <mc:Fallback>
                <p:oleObj name="Diapositiva de think-cell"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Marcador de fecha 1">
            <a:extLst>
              <a:ext uri="{FF2B5EF4-FFF2-40B4-BE49-F238E27FC236}">
                <a16:creationId xmlns="" xmlns:a16="http://schemas.microsoft.com/office/drawing/2014/main" id="{0A619720-33C9-364C-96E9-288DE394E9F8}"/>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3" name="Marcador de pie de página 2">
            <a:extLst>
              <a:ext uri="{FF2B5EF4-FFF2-40B4-BE49-F238E27FC236}">
                <a16:creationId xmlns="" xmlns:a16="http://schemas.microsoft.com/office/drawing/2014/main" id="{3D3393F8-D998-7E41-8CD3-153371E6649C}"/>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4" name="Marcador de número de diapositiva 3">
            <a:extLst>
              <a:ext uri="{FF2B5EF4-FFF2-40B4-BE49-F238E27FC236}">
                <a16:creationId xmlns="" xmlns:a16="http://schemas.microsoft.com/office/drawing/2014/main" id="{DF568ACF-BE02-AF4C-B1A0-55F3BB2EEC10}"/>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2582965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94"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2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0431ADAB-A07E-9245-AC07-984ECB6B4545}"/>
              </a:ext>
            </a:extLst>
          </p:cNvPr>
          <p:cNvSpPr>
            <a:spLocks noGrp="1"/>
          </p:cNvSpPr>
          <p:nvPr>
            <p:ph type="title"/>
          </p:nvPr>
        </p:nvSpPr>
        <p:spPr>
          <a:xfrm>
            <a:off x="839788" y="457200"/>
            <a:ext cx="3932237" cy="1600200"/>
          </a:xfrm>
        </p:spPr>
        <p:txBody>
          <a:bodyPr anchor="b"/>
          <a:lstStyle>
            <a:lvl1pPr>
              <a:defRPr sz="3200"/>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F5B813FB-2F1E-8442-A923-2E21B23DD3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4" name="Marcador de texto 3">
            <a:extLst>
              <a:ext uri="{FF2B5EF4-FFF2-40B4-BE49-F238E27FC236}">
                <a16:creationId xmlns="" xmlns:a16="http://schemas.microsoft.com/office/drawing/2014/main" id="{0AF94A61-0761-5246-A9BA-111E0D517D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CL" dirty="0" smtClean="0"/>
              <a:t>Haga clic para modificar los estilos de texto del patrón</a:t>
            </a:r>
            <a:endParaRPr lang="es-CL" dirty="0"/>
          </a:p>
        </p:txBody>
      </p:sp>
      <p:sp>
        <p:nvSpPr>
          <p:cNvPr id="5" name="Marcador de fecha 4">
            <a:extLst>
              <a:ext uri="{FF2B5EF4-FFF2-40B4-BE49-F238E27FC236}">
                <a16:creationId xmlns="" xmlns:a16="http://schemas.microsoft.com/office/drawing/2014/main" id="{DCD28853-7B01-C84D-9EFF-F9E31FD677CA}"/>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6" name="Marcador de pie de página 5">
            <a:extLst>
              <a:ext uri="{FF2B5EF4-FFF2-40B4-BE49-F238E27FC236}">
                <a16:creationId xmlns="" xmlns:a16="http://schemas.microsoft.com/office/drawing/2014/main" id="{836FDB70-ED51-AF46-A77A-29691D9FD6CE}"/>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D8AD0376-1946-9B45-AEA1-4415486DC8A2}"/>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42543149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18"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ángulo 8"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2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65C6C09B-81AB-A941-BC5A-E3B7DC514087}"/>
              </a:ext>
            </a:extLst>
          </p:cNvPr>
          <p:cNvSpPr>
            <a:spLocks noGrp="1"/>
          </p:cNvSpPr>
          <p:nvPr>
            <p:ph type="title"/>
          </p:nvPr>
        </p:nvSpPr>
        <p:spPr>
          <a:xfrm>
            <a:off x="839788" y="457200"/>
            <a:ext cx="3932237" cy="1600200"/>
          </a:xfrm>
        </p:spPr>
        <p:txBody>
          <a:bodyPr anchor="b"/>
          <a:lstStyle>
            <a:lvl1pPr>
              <a:defRPr sz="3200"/>
            </a:lvl1pPr>
          </a:lstStyle>
          <a:p>
            <a:r>
              <a:rPr lang="es-CL" dirty="0" smtClean="0"/>
              <a:t>Haga clic para modificar el estilo de título del patrón</a:t>
            </a:r>
            <a:endParaRPr lang="es-CL" dirty="0"/>
          </a:p>
        </p:txBody>
      </p:sp>
      <p:sp>
        <p:nvSpPr>
          <p:cNvPr id="3" name="Marcador de posición de imagen 2">
            <a:extLst>
              <a:ext uri="{FF2B5EF4-FFF2-40B4-BE49-F238E27FC236}">
                <a16:creationId xmlns="" xmlns:a16="http://schemas.microsoft.com/office/drawing/2014/main" id="{4504C410-1257-9144-81AD-4C3C93E3AF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 xmlns:a16="http://schemas.microsoft.com/office/drawing/2014/main" id="{0B3DC0F2-9F45-3542-9261-2479399E6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CL" dirty="0" smtClean="0"/>
              <a:t>Haga clic para modificar los estilos de texto del patrón</a:t>
            </a:r>
            <a:endParaRPr lang="es-CL" dirty="0"/>
          </a:p>
        </p:txBody>
      </p:sp>
      <p:sp>
        <p:nvSpPr>
          <p:cNvPr id="5" name="Marcador de fecha 4">
            <a:extLst>
              <a:ext uri="{FF2B5EF4-FFF2-40B4-BE49-F238E27FC236}">
                <a16:creationId xmlns="" xmlns:a16="http://schemas.microsoft.com/office/drawing/2014/main" id="{6AEC90C7-0D1A-6F4C-AE01-65957EC6D77C}"/>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6" name="Marcador de pie de página 5">
            <a:extLst>
              <a:ext uri="{FF2B5EF4-FFF2-40B4-BE49-F238E27FC236}">
                <a16:creationId xmlns="" xmlns:a16="http://schemas.microsoft.com/office/drawing/2014/main" id="{84193D72-DD88-2145-9900-126866D7C556}"/>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66E324D1-7705-DC4E-A177-CA532576188C}"/>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pic>
        <p:nvPicPr>
          <p:cNvPr id="8" name="Imagen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75179" y="441325"/>
            <a:ext cx="677600" cy="633600"/>
          </a:xfrm>
          <a:prstGeom prst="rect">
            <a:avLst/>
          </a:prstGeom>
        </p:spPr>
      </p:pic>
    </p:spTree>
    <p:extLst>
      <p:ext uri="{BB962C8B-B14F-4D97-AF65-F5344CB8AC3E}">
        <p14:creationId xmlns:p14="http://schemas.microsoft.com/office/powerpoint/2010/main" val="4341784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solidFill>
          <a:srgbClr val="004A5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52"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704F7FCC-439D-B94C-A689-2CC350BDEB23}"/>
              </a:ext>
            </a:extLst>
          </p:cNvPr>
          <p:cNvSpPr>
            <a:spLocks noGrp="1"/>
          </p:cNvSpPr>
          <p:nvPr>
            <p:ph type="ctrTitle" hasCustomPrompt="1"/>
          </p:nvPr>
        </p:nvSpPr>
        <p:spPr>
          <a:xfrm>
            <a:off x="551579" y="1983138"/>
            <a:ext cx="10017551" cy="2387600"/>
          </a:xfrm>
        </p:spPr>
        <p:txBody>
          <a:bodyPr anchor="b">
            <a:normAutofit/>
          </a:bodyPr>
          <a:lstStyle>
            <a:lvl1pPr algn="l">
              <a:defRPr lang="es-CL" sz="3600" b="1" kern="1200" spc="-150" dirty="0">
                <a:solidFill>
                  <a:schemeClr val="bg1"/>
                </a:solidFill>
                <a:latin typeface="Arial" panose="020B0604020202020204" pitchFamily="34" charset="0"/>
                <a:ea typeface="+mj-ea"/>
                <a:cs typeface="Arial" panose="020B0604020202020204" pitchFamily="34" charset="0"/>
              </a:defRPr>
            </a:lvl1pPr>
          </a:lstStyle>
          <a:p>
            <a:r>
              <a:rPr lang="es-CL" dirty="0" smtClean="0"/>
              <a:t>HAGA CLIC PARA MODIFICAR EL ESTILO DE TÍTULO DEL PATRÓN</a:t>
            </a:r>
            <a:endParaRPr lang="es-CL" dirty="0"/>
          </a:p>
        </p:txBody>
      </p:sp>
      <p:sp>
        <p:nvSpPr>
          <p:cNvPr id="3" name="Subtítulo 2">
            <a:extLst>
              <a:ext uri="{FF2B5EF4-FFF2-40B4-BE49-F238E27FC236}">
                <a16:creationId xmlns="" xmlns:a16="http://schemas.microsoft.com/office/drawing/2014/main" id="{EE10EA85-8C5A-7842-B0BA-B08D20BBD140}"/>
              </a:ext>
            </a:extLst>
          </p:cNvPr>
          <p:cNvSpPr>
            <a:spLocks noGrp="1"/>
          </p:cNvSpPr>
          <p:nvPr>
            <p:ph type="subTitle" idx="1" hasCustomPrompt="1"/>
          </p:nvPr>
        </p:nvSpPr>
        <p:spPr>
          <a:xfrm>
            <a:off x="551578" y="6018714"/>
            <a:ext cx="10017551" cy="438647"/>
          </a:xfrm>
        </p:spPr>
        <p:txBody>
          <a:bodyPr>
            <a:normAutofit/>
          </a:bodyPr>
          <a:lstStyle>
            <a:lvl1pPr marL="0" indent="0" algn="l">
              <a:buNone/>
              <a:defRPr lang="es-CL" sz="1400" kern="1200" dirty="0">
                <a:solidFill>
                  <a:schemeClr val="accent5">
                    <a:lumMod val="60000"/>
                    <a:lumOff val="40000"/>
                  </a:schemeClr>
                </a:solidFill>
                <a:latin typeface="Arial"/>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CL" dirty="0" smtClean="0"/>
              <a:t>Nombre expositor | Cargo expositor | Mes 2020</a:t>
            </a:r>
            <a:endParaRPr lang="es-CL" dirty="0"/>
          </a:p>
        </p:txBody>
      </p:sp>
      <p:pic>
        <p:nvPicPr>
          <p:cNvPr id="9" name="Imagen 8">
            <a:extLst>
              <a:ext uri="{FF2B5EF4-FFF2-40B4-BE49-F238E27FC236}">
                <a16:creationId xmlns="" xmlns:a16="http://schemas.microsoft.com/office/drawing/2014/main" id="{D44B7779-E965-CA4D-9EA5-DA5B5C7334E6}"/>
              </a:ext>
            </a:extLst>
          </p:cNvPr>
          <p:cNvPicPr>
            <a:picLocks noChangeAspect="1"/>
          </p:cNvPicPr>
          <p:nvPr userDrawn="1"/>
        </p:nvPicPr>
        <p:blipFill>
          <a:blip r:embed="rId7"/>
          <a:stretch>
            <a:fillRect/>
          </a:stretch>
        </p:blipFill>
        <p:spPr>
          <a:xfrm>
            <a:off x="11006138" y="441325"/>
            <a:ext cx="635000" cy="635000"/>
          </a:xfrm>
          <a:prstGeom prst="rect">
            <a:avLst/>
          </a:prstGeom>
        </p:spPr>
      </p:pic>
      <p:pic>
        <p:nvPicPr>
          <p:cNvPr id="10" name="Imagen 9">
            <a:extLst>
              <a:ext uri="{FF2B5EF4-FFF2-40B4-BE49-F238E27FC236}">
                <a16:creationId xmlns="" xmlns:a16="http://schemas.microsoft.com/office/drawing/2014/main" id="{8570EFBA-24C9-D642-9F28-8868099872F5}"/>
              </a:ext>
            </a:extLst>
          </p:cNvPr>
          <p:cNvPicPr>
            <a:picLocks noChangeAspect="1"/>
          </p:cNvPicPr>
          <p:nvPr userDrawn="1"/>
        </p:nvPicPr>
        <p:blipFill>
          <a:blip r:embed="rId8"/>
          <a:stretch>
            <a:fillRect/>
          </a:stretch>
        </p:blipFill>
        <p:spPr>
          <a:xfrm>
            <a:off x="551578" y="1983138"/>
            <a:ext cx="6284762" cy="991398"/>
          </a:xfrm>
          <a:prstGeom prst="rect">
            <a:avLst/>
          </a:prstGeom>
        </p:spPr>
      </p:pic>
    </p:spTree>
    <p:extLst>
      <p:ext uri="{BB962C8B-B14F-4D97-AF65-F5344CB8AC3E}">
        <p14:creationId xmlns:p14="http://schemas.microsoft.com/office/powerpoint/2010/main" val="20460976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68716A77-151E-498A-9317-A7109A879876}"/>
              </a:ext>
            </a:extLst>
          </p:cNvPr>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7497" name="Diapositiva de think-cell" r:id="rId5" imgW="530" imgH="531" progId="TCLayout.ActiveDocument.1">
                  <p:embed/>
                </p:oleObj>
              </mc:Choice>
              <mc:Fallback>
                <p:oleObj name="Diapositiva de think-cell" r:id="rId5" imgW="530" imgH="531"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8D8BB27F-032B-42B0-AA80-88E6608E6297}"/>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solidFill>
                  <a:srgbClr val="086837"/>
                </a:solidFill>
              </a:defRPr>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cxnSp>
        <p:nvCxnSpPr>
          <p:cNvPr id="13" name="Conector recto 12"/>
          <p:cNvCxnSpPr/>
          <p:nvPr userDrawn="1"/>
        </p:nvCxnSpPr>
        <p:spPr>
          <a:xfrm>
            <a:off x="527381" y="792322"/>
            <a:ext cx="11424000" cy="0"/>
          </a:xfrm>
          <a:prstGeom prst="line">
            <a:avLst/>
          </a:prstGeom>
          <a:ln w="12700" cmpd="sng">
            <a:solidFill>
              <a:srgbClr val="086837"/>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527381" y="6416840"/>
            <a:ext cx="11424000" cy="0"/>
          </a:xfrm>
          <a:prstGeom prst="line">
            <a:avLst/>
          </a:prstGeom>
          <a:ln w="12700" cmpd="sng">
            <a:solidFill>
              <a:srgbClr val="086837"/>
            </a:solidFill>
          </a:ln>
          <a:effectLst/>
        </p:spPr>
        <p:style>
          <a:lnRef idx="2">
            <a:schemeClr val="accent1"/>
          </a:lnRef>
          <a:fillRef idx="0">
            <a:schemeClr val="accent1"/>
          </a:fillRef>
          <a:effectRef idx="1">
            <a:schemeClr val="accent1"/>
          </a:effectRef>
          <a:fontRef idx="minor">
            <a:schemeClr val="tx1"/>
          </a:fontRef>
        </p:style>
      </p:cxnSp>
      <p:pic>
        <p:nvPicPr>
          <p:cNvPr id="12" name="Imagen 11">
            <a:extLst>
              <a:ext uri="{FF2B5EF4-FFF2-40B4-BE49-F238E27FC236}">
                <a16:creationId xmlns:a16="http://schemas.microsoft.com/office/drawing/2014/main" xmlns="" id="{4B802332-EBE4-EA4A-A47A-168006E9AFBF}"/>
              </a:ext>
            </a:extLst>
          </p:cNvPr>
          <p:cNvPicPr>
            <a:picLocks noChangeAspect="1"/>
          </p:cNvPicPr>
          <p:nvPr userDrawn="1"/>
        </p:nvPicPr>
        <p:blipFill>
          <a:blip r:embed="rId7"/>
          <a:stretch>
            <a:fillRect/>
          </a:stretch>
        </p:blipFill>
        <p:spPr>
          <a:xfrm>
            <a:off x="11412717" y="122810"/>
            <a:ext cx="538664" cy="525968"/>
          </a:xfrm>
          <a:prstGeom prst="rect">
            <a:avLst/>
          </a:prstGeom>
        </p:spPr>
      </p:pic>
    </p:spTree>
    <p:extLst>
      <p:ext uri="{BB962C8B-B14F-4D97-AF65-F5344CB8AC3E}">
        <p14:creationId xmlns:p14="http://schemas.microsoft.com/office/powerpoint/2010/main" val="6009553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76"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8587C1AE-A5E7-0649-8C35-50561BEA60A0}"/>
              </a:ext>
            </a:extLst>
          </p:cNvPr>
          <p:cNvSpPr>
            <a:spLocks noGrp="1"/>
          </p:cNvSpPr>
          <p:nvPr>
            <p:ph type="title"/>
          </p:nvPr>
        </p:nvSpPr>
        <p:spPr>
          <a:xfrm>
            <a:off x="587375" y="441325"/>
            <a:ext cx="8800070" cy="1325563"/>
          </a:xfrm>
        </p:spPr>
        <p:txBody>
          <a:bodyPr>
            <a:normAutofit/>
          </a:bodyPr>
          <a:lstStyle>
            <a:lvl1pPr>
              <a:defRPr sz="3600" b="1">
                <a:solidFill>
                  <a:srgbClr val="004A51"/>
                </a:solidFill>
                <a:latin typeface="Arial" panose="020B0604020202020204" pitchFamily="34" charset="0"/>
                <a:cs typeface="Arial" panose="020B0604020202020204" pitchFamily="34" charset="0"/>
              </a:defRPr>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367B9D02-F56D-6A42-99A7-C72B6E7C2044}"/>
              </a:ext>
            </a:extLst>
          </p:cNvPr>
          <p:cNvSpPr>
            <a:spLocks noGrp="1"/>
          </p:cNvSpPr>
          <p:nvPr>
            <p:ph idx="1"/>
          </p:nvPr>
        </p:nvSpPr>
        <p:spPr>
          <a:xfrm>
            <a:off x="587375" y="2005012"/>
            <a:ext cx="11017250" cy="4351338"/>
          </a:xfrm>
        </p:spPr>
        <p:txBody>
          <a:bodyPr/>
          <a:lstStyle>
            <a:lvl1pPr marL="2286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1pPr>
            <a:lvl2pPr marL="6858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2pPr>
            <a:lvl3pPr marL="11430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3pPr>
            <a:lvl4pPr marL="16002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4pPr>
            <a:lvl5pPr marL="2057400" indent="-228600">
              <a:buClr>
                <a:srgbClr val="8A004A"/>
              </a:buClr>
              <a:buFont typeface="Wingdings" pitchFamily="2" charset="2"/>
              <a:buChar char="§"/>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Tree>
    <p:extLst>
      <p:ext uri="{BB962C8B-B14F-4D97-AF65-F5344CB8AC3E}">
        <p14:creationId xmlns:p14="http://schemas.microsoft.com/office/powerpoint/2010/main" val="2233516847"/>
      </p:ext>
    </p:extLst>
  </p:cSld>
  <p:clrMapOvr>
    <a:masterClrMapping/>
  </p:clrMapOvr>
  <p:extLst mod="1">
    <p:ext uri="{DCECCB84-F9BA-43D5-87BE-67443E8EF086}">
      <p15:sldGuideLst xmlns:p15="http://schemas.microsoft.com/office/powerpoint/2012/main">
        <p15:guide id="1" pos="7310">
          <p15:clr>
            <a:srgbClr val="FBAE40"/>
          </p15:clr>
        </p15:guide>
        <p15:guide id="2" orient="horz" pos="4065">
          <p15:clr>
            <a:srgbClr val="FBAE40"/>
          </p15:clr>
        </p15:guide>
        <p15:guide id="3" pos="347">
          <p15:clr>
            <a:srgbClr val="FBAE40"/>
          </p15:clr>
        </p15:guide>
        <p15:guide id="4" orient="horz" pos="27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graphicFrame>
        <p:nvGraphicFramePr>
          <p:cNvPr id="6" name="Objeto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00"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54B08C72-8C35-6842-B3D0-5642ECFC8C3A}"/>
              </a:ext>
            </a:extLst>
          </p:cNvPr>
          <p:cNvSpPr>
            <a:spLocks noGrp="1"/>
          </p:cNvSpPr>
          <p:nvPr>
            <p:ph type="title"/>
          </p:nvPr>
        </p:nvSpPr>
        <p:spPr>
          <a:xfrm>
            <a:off x="587375" y="433622"/>
            <a:ext cx="8023225" cy="1325563"/>
          </a:xfrm>
        </p:spPr>
        <p:txBody>
          <a:bodyPr/>
          <a:lstStyle>
            <a:lvl1pPr>
              <a:defRPr lang="es-ES" sz="3600" b="1" kern="1200" dirty="0" smtClean="0">
                <a:solidFill>
                  <a:srgbClr val="004A51"/>
                </a:solidFill>
                <a:latin typeface="Arial" panose="020B0604020202020204" pitchFamily="34" charset="0"/>
                <a:ea typeface="+mj-ea"/>
                <a:cs typeface="Arial" panose="020B0604020202020204" pitchFamily="34" charset="0"/>
              </a:defRPr>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83794A0C-F56F-454B-A5FE-9B96617C4EAF}"/>
              </a:ext>
            </a:extLst>
          </p:cNvPr>
          <p:cNvSpPr>
            <a:spLocks noGrp="1"/>
          </p:cNvSpPr>
          <p:nvPr>
            <p:ph sz="half" idx="1"/>
          </p:nvPr>
        </p:nvSpPr>
        <p:spPr>
          <a:xfrm>
            <a:off x="587375" y="2073040"/>
            <a:ext cx="5181600" cy="4351338"/>
          </a:xfrm>
        </p:spPr>
        <p:txBody>
          <a:bodyPr/>
          <a:lstStyle>
            <a:lvl1pPr marL="2286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buClr>
                <a:srgbClr val="8A004A"/>
              </a:buClr>
              <a:buFont typeface="Wingdings" pitchFamily="2" charset="2"/>
              <a:buChar char="§"/>
              <a:defRPr lang="es-CL" sz="2800" kern="1200" dirty="0">
                <a:solidFill>
                  <a:schemeClr val="tx1">
                    <a:lumMod val="75000"/>
                    <a:lumOff val="25000"/>
                  </a:schemeClr>
                </a:solidFill>
                <a:latin typeface="Arial" panose="020B0604020202020204" pitchFamily="34" charset="0"/>
                <a:ea typeface="+mn-ea"/>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4" name="Marcador de contenido 3">
            <a:extLst>
              <a:ext uri="{FF2B5EF4-FFF2-40B4-BE49-F238E27FC236}">
                <a16:creationId xmlns="" xmlns:a16="http://schemas.microsoft.com/office/drawing/2014/main" id="{DA7B3989-CBD2-6147-BBE6-7F7CAD27A863}"/>
              </a:ext>
            </a:extLst>
          </p:cNvPr>
          <p:cNvSpPr>
            <a:spLocks noGrp="1"/>
          </p:cNvSpPr>
          <p:nvPr>
            <p:ph sz="half" idx="2"/>
          </p:nvPr>
        </p:nvSpPr>
        <p:spPr>
          <a:xfrm>
            <a:off x="6423027" y="2073040"/>
            <a:ext cx="5181600" cy="4351338"/>
          </a:xfrm>
        </p:spPr>
        <p:txBody>
          <a:bodyPr/>
          <a:lstStyle>
            <a:lvl1pPr marL="2286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buClr>
                <a:srgbClr val="8A004A"/>
              </a:buClr>
              <a:buFont typeface="Wingdings" pitchFamily="2" charset="2"/>
              <a:buChar char="§"/>
              <a:defRPr lang="es-ES"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buClr>
                <a:srgbClr val="8A004A"/>
              </a:buClr>
              <a:buFont typeface="Wingdings" pitchFamily="2" charset="2"/>
              <a:buChar char="§"/>
              <a:defRPr lang="es-CL" sz="2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5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Tree>
    <p:extLst>
      <p:ext uri="{BB962C8B-B14F-4D97-AF65-F5344CB8AC3E}">
        <p14:creationId xmlns:p14="http://schemas.microsoft.com/office/powerpoint/2010/main" val="26725960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24"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44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ED5B3B49-219B-0D42-ADA8-8D2003F7B544}"/>
              </a:ext>
            </a:extLst>
          </p:cNvPr>
          <p:cNvSpPr>
            <a:spLocks noGrp="1"/>
          </p:cNvSpPr>
          <p:nvPr>
            <p:ph type="title"/>
          </p:nvPr>
        </p:nvSpPr>
        <p:spPr>
          <a:xfrm>
            <a:off x="839788" y="365125"/>
            <a:ext cx="10515600" cy="1325563"/>
          </a:xfrm>
        </p:spPr>
        <p:txBody>
          <a:bodyPr/>
          <a:lstStyle/>
          <a:p>
            <a:r>
              <a:rPr lang="es-CL" dirty="0" smtClean="0"/>
              <a:t>Haga clic para modificar el estilo de título del patrón</a:t>
            </a:r>
            <a:endParaRPr lang="es-CL" dirty="0"/>
          </a:p>
        </p:txBody>
      </p:sp>
      <p:sp>
        <p:nvSpPr>
          <p:cNvPr id="3" name="Marcador de texto 2">
            <a:extLst>
              <a:ext uri="{FF2B5EF4-FFF2-40B4-BE49-F238E27FC236}">
                <a16:creationId xmlns="" xmlns:a16="http://schemas.microsoft.com/office/drawing/2014/main" id="{1E79219E-6FDB-E245-83E7-DEF2ADD35A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L" dirty="0" smtClean="0"/>
              <a:t>Haga clic para modificar los estilos de texto del patrón</a:t>
            </a:r>
            <a:endParaRPr lang="es-CL" dirty="0"/>
          </a:p>
        </p:txBody>
      </p:sp>
      <p:sp>
        <p:nvSpPr>
          <p:cNvPr id="4" name="Marcador de contenido 3">
            <a:extLst>
              <a:ext uri="{FF2B5EF4-FFF2-40B4-BE49-F238E27FC236}">
                <a16:creationId xmlns="" xmlns:a16="http://schemas.microsoft.com/office/drawing/2014/main" id="{1E4B80B7-29E6-5E4A-88A0-AC9A532B609B}"/>
              </a:ext>
            </a:extLst>
          </p:cNvPr>
          <p:cNvSpPr>
            <a:spLocks noGrp="1"/>
          </p:cNvSpPr>
          <p:nvPr>
            <p:ph sz="half" idx="2"/>
          </p:nvPr>
        </p:nvSpPr>
        <p:spPr>
          <a:xfrm>
            <a:off x="839788" y="2505075"/>
            <a:ext cx="5157787" cy="3684588"/>
          </a:xfrm>
        </p:spPr>
        <p:txBody>
          <a:body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5" name="Marcador de texto 4">
            <a:extLst>
              <a:ext uri="{FF2B5EF4-FFF2-40B4-BE49-F238E27FC236}">
                <a16:creationId xmlns="" xmlns:a16="http://schemas.microsoft.com/office/drawing/2014/main" id="{E12A623D-AB14-2849-B7E9-18992D4CC4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CL" dirty="0" smtClean="0"/>
              <a:t>Haga clic para modificar los estilos de texto del patrón</a:t>
            </a:r>
            <a:endParaRPr lang="es-CL" dirty="0"/>
          </a:p>
        </p:txBody>
      </p:sp>
      <p:sp>
        <p:nvSpPr>
          <p:cNvPr id="6" name="Marcador de contenido 5">
            <a:extLst>
              <a:ext uri="{FF2B5EF4-FFF2-40B4-BE49-F238E27FC236}">
                <a16:creationId xmlns="" xmlns:a16="http://schemas.microsoft.com/office/drawing/2014/main" id="{F324C1C9-AA68-764B-A730-B9122E09268C}"/>
              </a:ext>
            </a:extLst>
          </p:cNvPr>
          <p:cNvSpPr>
            <a:spLocks noGrp="1"/>
          </p:cNvSpPr>
          <p:nvPr>
            <p:ph sz="quarter" idx="4"/>
          </p:nvPr>
        </p:nvSpPr>
        <p:spPr>
          <a:xfrm>
            <a:off x="6172200" y="2505075"/>
            <a:ext cx="5183188" cy="3684588"/>
          </a:xfrm>
        </p:spPr>
        <p:txBody>
          <a:body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7" name="Marcador de fecha 6">
            <a:extLst>
              <a:ext uri="{FF2B5EF4-FFF2-40B4-BE49-F238E27FC236}">
                <a16:creationId xmlns="" xmlns:a16="http://schemas.microsoft.com/office/drawing/2014/main" id="{CA715959-0E60-7243-BA95-1FB60F29F4F6}"/>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8" name="Marcador de pie de página 7">
            <a:extLst>
              <a:ext uri="{FF2B5EF4-FFF2-40B4-BE49-F238E27FC236}">
                <a16:creationId xmlns="" xmlns:a16="http://schemas.microsoft.com/office/drawing/2014/main" id="{CB1EA694-6976-6E43-A46A-B984C02F7D34}"/>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9" name="Marcador de número de diapositiva 8">
            <a:extLst>
              <a:ext uri="{FF2B5EF4-FFF2-40B4-BE49-F238E27FC236}">
                <a16:creationId xmlns="" xmlns:a16="http://schemas.microsoft.com/office/drawing/2014/main" id="{F7A9FBD2-C251-9042-8824-B98FBCA2CD13}"/>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0948257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48"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44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82EAE6D4-DA38-6D44-A1BD-39FE184D1522}"/>
              </a:ext>
            </a:extLst>
          </p:cNvPr>
          <p:cNvSpPr>
            <a:spLocks noGrp="1"/>
          </p:cNvSpPr>
          <p:nvPr>
            <p:ph type="title"/>
          </p:nvPr>
        </p:nvSpPr>
        <p:spPr/>
        <p:txBody>
          <a:bodyPr/>
          <a:lstStyle/>
          <a:p>
            <a:r>
              <a:rPr lang="es-CL" dirty="0" smtClean="0"/>
              <a:t>Haga clic para modificar el estilo de título del patrón</a:t>
            </a:r>
            <a:endParaRPr lang="es-CL" dirty="0"/>
          </a:p>
        </p:txBody>
      </p:sp>
      <p:sp>
        <p:nvSpPr>
          <p:cNvPr id="3" name="Marcador de fecha 2">
            <a:extLst>
              <a:ext uri="{FF2B5EF4-FFF2-40B4-BE49-F238E27FC236}">
                <a16:creationId xmlns="" xmlns:a16="http://schemas.microsoft.com/office/drawing/2014/main" id="{4C18FEB4-A3F6-A34C-98AC-EADA1C716767}"/>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4" name="Marcador de pie de página 3">
            <a:extLst>
              <a:ext uri="{FF2B5EF4-FFF2-40B4-BE49-F238E27FC236}">
                <a16:creationId xmlns="" xmlns:a16="http://schemas.microsoft.com/office/drawing/2014/main" id="{2C105D90-659C-1E47-BAF6-66C40D243CE4}"/>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5" name="Marcador de número de diapositiva 4">
            <a:extLst>
              <a:ext uri="{FF2B5EF4-FFF2-40B4-BE49-F238E27FC236}">
                <a16:creationId xmlns="" xmlns:a16="http://schemas.microsoft.com/office/drawing/2014/main" id="{C9CA251B-9AC8-F842-A22A-C77F1FFC10B1}"/>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1123185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72" name="Diapositiva de think-cell" r:id="rId4" imgW="415" imgH="416" progId="TCLayout.ActiveDocument.1">
                  <p:embed/>
                </p:oleObj>
              </mc:Choice>
              <mc:Fallback>
                <p:oleObj name="Diapositiva de think-cell"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Marcador de fecha 1">
            <a:extLst>
              <a:ext uri="{FF2B5EF4-FFF2-40B4-BE49-F238E27FC236}">
                <a16:creationId xmlns="" xmlns:a16="http://schemas.microsoft.com/office/drawing/2014/main" id="{0A619720-33C9-364C-96E9-288DE394E9F8}"/>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3" name="Marcador de pie de página 2">
            <a:extLst>
              <a:ext uri="{FF2B5EF4-FFF2-40B4-BE49-F238E27FC236}">
                <a16:creationId xmlns="" xmlns:a16="http://schemas.microsoft.com/office/drawing/2014/main" id="{3D3393F8-D998-7E41-8CD3-153371E6649C}"/>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4" name="Marcador de número de diapositiva 3">
            <a:extLst>
              <a:ext uri="{FF2B5EF4-FFF2-40B4-BE49-F238E27FC236}">
                <a16:creationId xmlns="" xmlns:a16="http://schemas.microsoft.com/office/drawing/2014/main" id="{DF568ACF-BE02-AF4C-B1A0-55F3BB2EEC10}"/>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4180221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96"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2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0431ADAB-A07E-9245-AC07-984ECB6B4545}"/>
              </a:ext>
            </a:extLst>
          </p:cNvPr>
          <p:cNvSpPr>
            <a:spLocks noGrp="1"/>
          </p:cNvSpPr>
          <p:nvPr>
            <p:ph type="title"/>
          </p:nvPr>
        </p:nvSpPr>
        <p:spPr>
          <a:xfrm>
            <a:off x="839788" y="457200"/>
            <a:ext cx="3932237" cy="1600200"/>
          </a:xfrm>
        </p:spPr>
        <p:txBody>
          <a:bodyPr anchor="b"/>
          <a:lstStyle>
            <a:lvl1pPr>
              <a:defRPr sz="3200"/>
            </a:lvl1pPr>
          </a:lstStyle>
          <a:p>
            <a:r>
              <a:rPr lang="es-CL" dirty="0" smtClean="0"/>
              <a:t>Haga clic para modificar el estilo de título del patrón</a:t>
            </a:r>
            <a:endParaRPr lang="es-CL" dirty="0"/>
          </a:p>
        </p:txBody>
      </p:sp>
      <p:sp>
        <p:nvSpPr>
          <p:cNvPr id="3" name="Marcador de contenido 2">
            <a:extLst>
              <a:ext uri="{FF2B5EF4-FFF2-40B4-BE49-F238E27FC236}">
                <a16:creationId xmlns="" xmlns:a16="http://schemas.microsoft.com/office/drawing/2014/main" id="{F5B813FB-2F1E-8442-A923-2E21B23DD3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4" name="Marcador de texto 3">
            <a:extLst>
              <a:ext uri="{FF2B5EF4-FFF2-40B4-BE49-F238E27FC236}">
                <a16:creationId xmlns="" xmlns:a16="http://schemas.microsoft.com/office/drawing/2014/main" id="{0AF94A61-0761-5246-A9BA-111E0D517D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CL" dirty="0" smtClean="0"/>
              <a:t>Haga clic para modificar los estilos de texto del patrón</a:t>
            </a:r>
            <a:endParaRPr lang="es-CL" dirty="0"/>
          </a:p>
        </p:txBody>
      </p:sp>
      <p:sp>
        <p:nvSpPr>
          <p:cNvPr id="5" name="Marcador de fecha 4">
            <a:extLst>
              <a:ext uri="{FF2B5EF4-FFF2-40B4-BE49-F238E27FC236}">
                <a16:creationId xmlns="" xmlns:a16="http://schemas.microsoft.com/office/drawing/2014/main" id="{DCD28853-7B01-C84D-9EFF-F9E31FD677CA}"/>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6" name="Marcador de pie de página 5">
            <a:extLst>
              <a:ext uri="{FF2B5EF4-FFF2-40B4-BE49-F238E27FC236}">
                <a16:creationId xmlns="" xmlns:a16="http://schemas.microsoft.com/office/drawing/2014/main" id="{836FDB70-ED51-AF46-A77A-29691D9FD6CE}"/>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D8AD0376-1946-9B45-AEA1-4415486DC8A2}"/>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965840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20"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ángulo 8"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3200" dirty="0">
              <a:solidFill>
                <a:prstClr val="white"/>
              </a:solidFill>
              <a:latin typeface="Calibri Light" panose="020F0302020204030204" pitchFamily="34" charset="0"/>
              <a:sym typeface="Calibri Light" panose="020F0302020204030204" pitchFamily="34" charset="0"/>
            </a:endParaRPr>
          </a:p>
        </p:txBody>
      </p:sp>
      <p:sp>
        <p:nvSpPr>
          <p:cNvPr id="2" name="Título 1">
            <a:extLst>
              <a:ext uri="{FF2B5EF4-FFF2-40B4-BE49-F238E27FC236}">
                <a16:creationId xmlns="" xmlns:a16="http://schemas.microsoft.com/office/drawing/2014/main" id="{65C6C09B-81AB-A941-BC5A-E3B7DC514087}"/>
              </a:ext>
            </a:extLst>
          </p:cNvPr>
          <p:cNvSpPr>
            <a:spLocks noGrp="1"/>
          </p:cNvSpPr>
          <p:nvPr>
            <p:ph type="title"/>
          </p:nvPr>
        </p:nvSpPr>
        <p:spPr>
          <a:xfrm>
            <a:off x="839788" y="457200"/>
            <a:ext cx="3932237" cy="1600200"/>
          </a:xfrm>
        </p:spPr>
        <p:txBody>
          <a:bodyPr anchor="b"/>
          <a:lstStyle>
            <a:lvl1pPr>
              <a:defRPr sz="3200"/>
            </a:lvl1pPr>
          </a:lstStyle>
          <a:p>
            <a:r>
              <a:rPr lang="es-CL" dirty="0" smtClean="0"/>
              <a:t>Haga clic para modificar el estilo de título del patrón</a:t>
            </a:r>
            <a:endParaRPr lang="es-CL" dirty="0"/>
          </a:p>
        </p:txBody>
      </p:sp>
      <p:sp>
        <p:nvSpPr>
          <p:cNvPr id="3" name="Marcador de posición de imagen 2">
            <a:extLst>
              <a:ext uri="{FF2B5EF4-FFF2-40B4-BE49-F238E27FC236}">
                <a16:creationId xmlns="" xmlns:a16="http://schemas.microsoft.com/office/drawing/2014/main" id="{4504C410-1257-9144-81AD-4C3C93E3AF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 xmlns:a16="http://schemas.microsoft.com/office/drawing/2014/main" id="{0B3DC0F2-9F45-3542-9261-2479399E6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CL" dirty="0" smtClean="0"/>
              <a:t>Haga clic para modificar los estilos de texto del patrón</a:t>
            </a:r>
            <a:endParaRPr lang="es-CL" dirty="0"/>
          </a:p>
        </p:txBody>
      </p:sp>
      <p:sp>
        <p:nvSpPr>
          <p:cNvPr id="5" name="Marcador de fecha 4">
            <a:extLst>
              <a:ext uri="{FF2B5EF4-FFF2-40B4-BE49-F238E27FC236}">
                <a16:creationId xmlns="" xmlns:a16="http://schemas.microsoft.com/office/drawing/2014/main" id="{6AEC90C7-0D1A-6F4C-AE01-65957EC6D77C}"/>
              </a:ext>
            </a:extLst>
          </p:cNvPr>
          <p:cNvSpPr>
            <a:spLocks noGrp="1"/>
          </p:cNvSpPr>
          <p:nvPr>
            <p:ph type="dt" sz="half" idx="10"/>
          </p:nvPr>
        </p:nvSpPr>
        <p:spPr/>
        <p:txBody>
          <a:body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6" name="Marcador de pie de página 5">
            <a:extLst>
              <a:ext uri="{FF2B5EF4-FFF2-40B4-BE49-F238E27FC236}">
                <a16:creationId xmlns="" xmlns:a16="http://schemas.microsoft.com/office/drawing/2014/main" id="{84193D72-DD88-2145-9900-126866D7C556}"/>
              </a:ext>
            </a:extLst>
          </p:cNvPr>
          <p:cNvSpPr>
            <a:spLocks noGrp="1"/>
          </p:cNvSpPr>
          <p:nvPr>
            <p:ph type="ftr" sz="quarter" idx="11"/>
          </p:nvPr>
        </p:nvSpPr>
        <p:spPr/>
        <p:txBody>
          <a:bodyPr/>
          <a:lstStyle>
            <a:lvl1pPr eaLnBrk="1">
              <a:defRPr/>
            </a:lvl1pPr>
          </a:lstStyle>
          <a:p>
            <a:endParaRPr lang="es-CL" dirty="0">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66E324D1-7705-DC4E-A177-CA532576188C}"/>
              </a:ext>
            </a:extLst>
          </p:cNvPr>
          <p:cNvSpPr>
            <a:spLocks noGrp="1"/>
          </p:cNvSpPr>
          <p:nvPr>
            <p:ph type="sldNum" sz="quarter" idx="12"/>
          </p:nvPr>
        </p:nvSpPr>
        <p:spPr/>
        <p:txBody>
          <a:body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pic>
        <p:nvPicPr>
          <p:cNvPr id="8" name="Imagen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75179" y="441325"/>
            <a:ext cx="677600" cy="633600"/>
          </a:xfrm>
          <a:prstGeom prst="rect">
            <a:avLst/>
          </a:prstGeom>
        </p:spPr>
      </p:pic>
    </p:spTree>
    <p:extLst>
      <p:ext uri="{BB962C8B-B14F-4D97-AF65-F5344CB8AC3E}">
        <p14:creationId xmlns:p14="http://schemas.microsoft.com/office/powerpoint/2010/main" val="693910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8521" name="Diapositiva de think-cell" r:id="rId5" imgW="530" imgH="531" progId="TCLayout.ActiveDocument.1">
                  <p:embed/>
                </p:oleObj>
              </mc:Choice>
              <mc:Fallback>
                <p:oleObj name="Diapositiva de think-cell" r:id="rId5" imgW="530" imgH="531"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A3093AD6-FECA-418A-B467-A107921B5BC0}"/>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pic>
        <p:nvPicPr>
          <p:cNvPr id="7" name="Imagen 6">
            <a:extLst>
              <a:ext uri="{FF2B5EF4-FFF2-40B4-BE49-F238E27FC236}">
                <a16:creationId xmlns:a16="http://schemas.microsoft.com/office/drawing/2014/main" xmlns="" id="{05048E15-523C-EE44-A3E8-FB4301AB9983}"/>
              </a:ext>
            </a:extLst>
          </p:cNvPr>
          <p:cNvPicPr>
            <a:picLocks noChangeAspect="1"/>
          </p:cNvPicPr>
          <p:nvPr userDrawn="1"/>
        </p:nvPicPr>
        <p:blipFill>
          <a:blip r:embed="rId7"/>
          <a:stretch>
            <a:fillRect/>
          </a:stretch>
        </p:blipFill>
        <p:spPr>
          <a:xfrm>
            <a:off x="11412717" y="122810"/>
            <a:ext cx="538664" cy="525968"/>
          </a:xfrm>
          <a:prstGeom prst="rect">
            <a:avLst/>
          </a:prstGeom>
        </p:spPr>
      </p:pic>
    </p:spTree>
    <p:extLst>
      <p:ext uri="{BB962C8B-B14F-4D97-AF65-F5344CB8AC3E}">
        <p14:creationId xmlns:p14="http://schemas.microsoft.com/office/powerpoint/2010/main" val="2863514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9545"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xmlns="" id="{A2290F62-8103-7C4B-8C9E-AA5AC80A8FC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484990" y="1484784"/>
            <a:ext cx="7222019" cy="4060403"/>
          </a:xfrm>
          <a:prstGeom prst="rect">
            <a:avLst/>
          </a:prstGeom>
        </p:spPr>
      </p:pic>
    </p:spTree>
    <p:extLst>
      <p:ext uri="{BB962C8B-B14F-4D97-AF65-F5344CB8AC3E}">
        <p14:creationId xmlns:p14="http://schemas.microsoft.com/office/powerpoint/2010/main" val="836360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ntenido">
    <p:spTree>
      <p:nvGrpSpPr>
        <p:cNvPr id="1" name=""/>
        <p:cNvGrpSpPr/>
        <p:nvPr/>
      </p:nvGrpSpPr>
      <p:grpSpPr>
        <a:xfrm>
          <a:off x="0" y="0"/>
          <a:ext cx="0" cy="0"/>
          <a:chOff x="0" y="0"/>
          <a:chExt cx="0" cy="0"/>
        </a:xfrm>
      </p:grpSpPr>
      <p:sp>
        <p:nvSpPr>
          <p:cNvPr id="8" name="1 Marcador de título"/>
          <p:cNvSpPr>
            <a:spLocks noGrp="1"/>
          </p:cNvSpPr>
          <p:nvPr>
            <p:ph type="title"/>
          </p:nvPr>
        </p:nvSpPr>
        <p:spPr bwMode="auto">
          <a:xfrm>
            <a:off x="527383" y="168898"/>
            <a:ext cx="108492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l"/>
            <a:r>
              <a:rPr lang="es-ES" altLang="es-CL"/>
              <a:t>Haga clic para modificar el estilo de título</a:t>
            </a:r>
            <a:endParaRPr lang="es-CL" altLang="es-CL"/>
          </a:p>
        </p:txBody>
      </p:sp>
      <p:sp>
        <p:nvSpPr>
          <p:cNvPr id="7" name="9 Rectángulo"/>
          <p:cNvSpPr/>
          <p:nvPr userDrawn="1"/>
        </p:nvSpPr>
        <p:spPr>
          <a:xfrm rot="5400000">
            <a:off x="-3304142" y="3298493"/>
            <a:ext cx="6884988" cy="288000"/>
          </a:xfrm>
          <a:prstGeom prst="rect">
            <a:avLst/>
          </a:prstGeom>
          <a:solidFill>
            <a:srgbClr val="1E6C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s-CL">
              <a:solidFill>
                <a:srgbClr val="FFFFFF"/>
              </a:solidFill>
            </a:endParaRPr>
          </a:p>
        </p:txBody>
      </p:sp>
      <p:sp>
        <p:nvSpPr>
          <p:cNvPr id="9" name="5 Marcador de número de diapositiva"/>
          <p:cNvSpPr>
            <a:spLocks noGrp="1"/>
          </p:cNvSpPr>
          <p:nvPr>
            <p:ph type="sldNum" sz="quarter" idx="4"/>
          </p:nvPr>
        </p:nvSpPr>
        <p:spPr>
          <a:xfrm>
            <a:off x="11664619" y="6488968"/>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488968"/>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a:solidFill>
                <a:srgbClr val="000000"/>
              </a:solidFill>
            </a:endParaRPr>
          </a:p>
        </p:txBody>
      </p:sp>
      <p:pic>
        <p:nvPicPr>
          <p:cNvPr id="1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72597" y="116635"/>
            <a:ext cx="682824" cy="487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7 Marcador de contenido"/>
          <p:cNvSpPr>
            <a:spLocks noGrp="1"/>
          </p:cNvSpPr>
          <p:nvPr>
            <p:ph sz="quarter" idx="10" hasCustomPrompt="1"/>
          </p:nvPr>
        </p:nvSpPr>
        <p:spPr>
          <a:xfrm>
            <a:off x="527052" y="476253"/>
            <a:ext cx="11286067" cy="288925"/>
          </a:xfrm>
          <a:prstGeom prst="rect">
            <a:avLst/>
          </a:prstGeom>
        </p:spPr>
        <p:txBody>
          <a:bodyPr lIns="0" anchor="ctr"/>
          <a:lstStyle>
            <a:lvl1pPr marL="0" indent="0">
              <a:buNone/>
              <a:defRPr sz="1800" baseline="0">
                <a:solidFill>
                  <a:srgbClr val="195A28"/>
                </a:solidFill>
              </a:defRPr>
            </a:lvl1pPr>
          </a:lstStyle>
          <a:p>
            <a:pPr lvl="0"/>
            <a:r>
              <a:rPr lang="es-ES"/>
              <a:t>Haga clic para agregar subtítulo</a:t>
            </a:r>
          </a:p>
        </p:txBody>
      </p:sp>
    </p:spTree>
    <p:extLst>
      <p:ext uri="{BB962C8B-B14F-4D97-AF65-F5344CB8AC3E}">
        <p14:creationId xmlns:p14="http://schemas.microsoft.com/office/powerpoint/2010/main" val="2417389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exto">
    <p:spTree>
      <p:nvGrpSpPr>
        <p:cNvPr id="1" name=""/>
        <p:cNvGrpSpPr/>
        <p:nvPr/>
      </p:nvGrpSpPr>
      <p:grpSpPr>
        <a:xfrm>
          <a:off x="0" y="0"/>
          <a:ext cx="0" cy="0"/>
          <a:chOff x="0" y="0"/>
          <a:chExt cx="0" cy="0"/>
        </a:xfrm>
      </p:grpSpPr>
      <p:graphicFrame>
        <p:nvGraphicFramePr>
          <p:cNvPr id="36" name="35 Objeto"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1593" name="Diapositiva de think-cell" r:id="rId11" imgW="270" imgH="270" progId="TCLayout.ActiveDocument.1">
                  <p:embed/>
                </p:oleObj>
              </mc:Choice>
              <mc:Fallback>
                <p:oleObj name="Diapositiva de think-cell" r:id="rId11" imgW="270" imgH="270" progId="TCLayout.ActiveDocument.1">
                  <p:embed/>
                  <p:pic>
                    <p:nvPicPr>
                      <p:cNvPr id="0" name=""/>
                      <p:cNvPicPr/>
                      <p:nvPr/>
                    </p:nvPicPr>
                    <p:blipFill>
                      <a:blip r:embed="rId12"/>
                      <a:stretch>
                        <a:fillRect/>
                      </a:stretch>
                    </p:blipFill>
                    <p:spPr>
                      <a:xfrm>
                        <a:off x="1" y="0"/>
                        <a:ext cx="211667" cy="158750"/>
                      </a:xfrm>
                      <a:prstGeom prst="rect">
                        <a:avLst/>
                      </a:prstGeom>
                    </p:spPr>
                  </p:pic>
                </p:oleObj>
              </mc:Fallback>
            </mc:AlternateContent>
          </a:graphicData>
        </a:graphic>
      </p:graphicFrame>
      <p:sp>
        <p:nvSpPr>
          <p:cNvPr id="12" name="11 Rectángulo" hidden="1"/>
          <p:cNvSpPr/>
          <p:nvPr userDrawn="1">
            <p:custDataLst>
              <p:tags r:id="rId3"/>
            </p:custDataLst>
          </p:nvPr>
        </p:nvSpPr>
        <p:spPr bwMode="auto">
          <a:xfrm>
            <a:off x="1" y="0"/>
            <a:ext cx="211667"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pPr>
            <a:endParaRPr lang="es-ES" sz="20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9" name="5 Marcador de número de diapositiva"/>
          <p:cNvSpPr>
            <a:spLocks noGrp="1"/>
          </p:cNvSpPr>
          <p:nvPr>
            <p:ph type="sldNum" sz="quarter" idx="4"/>
            <p:custDataLst>
              <p:tags r:id="rId4"/>
            </p:custDataLst>
          </p:nvPr>
        </p:nvSpPr>
        <p:spPr>
          <a:xfrm>
            <a:off x="11664619" y="6488968"/>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1" name="4 Marcador de pie de página"/>
          <p:cNvSpPr>
            <a:spLocks noGrp="1"/>
          </p:cNvSpPr>
          <p:nvPr>
            <p:ph type="ftr" sz="quarter" idx="3"/>
            <p:custDataLst>
              <p:tags r:id="rId5"/>
            </p:custDataLst>
          </p:nvPr>
        </p:nvSpPr>
        <p:spPr>
          <a:xfrm>
            <a:off x="527381" y="6488968"/>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a:solidFill>
                <a:srgbClr val="000000"/>
              </a:solidFill>
            </a:endParaRPr>
          </a:p>
        </p:txBody>
      </p:sp>
      <p:sp>
        <p:nvSpPr>
          <p:cNvPr id="14" name="6 Rectángulo"/>
          <p:cNvSpPr/>
          <p:nvPr userDrawn="1">
            <p:custDataLst>
              <p:tags r:id="rId6"/>
            </p:custDataLst>
          </p:nvPr>
        </p:nvSpPr>
        <p:spPr>
          <a:xfrm>
            <a:off x="0" y="6669384"/>
            <a:ext cx="12192000" cy="216000"/>
          </a:xfrm>
          <a:prstGeom prst="rect">
            <a:avLst/>
          </a:prstGeom>
          <a:solidFill>
            <a:srgbClr val="1E6C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s-CL">
              <a:solidFill>
                <a:srgbClr val="FFFFFF"/>
              </a:solidFill>
            </a:endParaRPr>
          </a:p>
        </p:txBody>
      </p:sp>
      <p:pic>
        <p:nvPicPr>
          <p:cNvPr id="15" name="Picture 2"/>
          <p:cNvPicPr>
            <a:picLocks noChangeAspect="1" noChangeArrowheads="1"/>
          </p:cNvPicPr>
          <p:nvPr userDrawn="1">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1472597" y="116635"/>
            <a:ext cx="682824" cy="487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Título"/>
          <p:cNvSpPr>
            <a:spLocks noGrp="1"/>
          </p:cNvSpPr>
          <p:nvPr>
            <p:ph type="title"/>
            <p:custDataLst>
              <p:tags r:id="rId8"/>
            </p:custDataLst>
          </p:nvPr>
        </p:nvSpPr>
        <p:spPr>
          <a:xfrm>
            <a:off x="527381" y="168898"/>
            <a:ext cx="11343051" cy="307777"/>
          </a:xfrm>
          <a:prstGeom prst="rect">
            <a:avLst/>
          </a:prstGeom>
        </p:spPr>
        <p:txBody>
          <a:bodyPr/>
          <a:lstStyle/>
          <a:p>
            <a:r>
              <a:rPr lang="es-ES"/>
              <a:t>Haga clic para modificar el estilo de título del patrón</a:t>
            </a:r>
            <a:endParaRPr lang="es-CL"/>
          </a:p>
        </p:txBody>
      </p:sp>
      <p:sp>
        <p:nvSpPr>
          <p:cNvPr id="8" name="7 Marcador de contenido"/>
          <p:cNvSpPr>
            <a:spLocks noGrp="1"/>
          </p:cNvSpPr>
          <p:nvPr>
            <p:ph sz="quarter" idx="10" hasCustomPrompt="1"/>
            <p:custDataLst>
              <p:tags r:id="rId9"/>
            </p:custDataLst>
          </p:nvPr>
        </p:nvSpPr>
        <p:spPr>
          <a:xfrm>
            <a:off x="527052" y="466728"/>
            <a:ext cx="11286067" cy="288925"/>
          </a:xfrm>
          <a:prstGeom prst="rect">
            <a:avLst/>
          </a:prstGeom>
        </p:spPr>
        <p:txBody>
          <a:bodyPr lIns="0" anchor="ctr"/>
          <a:lstStyle>
            <a:lvl1pPr marL="0" indent="0">
              <a:buNone/>
              <a:defRPr sz="1800" baseline="0">
                <a:solidFill>
                  <a:srgbClr val="195A28"/>
                </a:solidFill>
              </a:defRPr>
            </a:lvl1pPr>
          </a:lstStyle>
          <a:p>
            <a:pPr lvl="0"/>
            <a:r>
              <a:rPr lang="es-ES"/>
              <a:t>Haga clic para agregar subtítulo</a:t>
            </a:r>
          </a:p>
        </p:txBody>
      </p:sp>
    </p:spTree>
    <p:extLst>
      <p:ext uri="{BB962C8B-B14F-4D97-AF65-F5344CB8AC3E}">
        <p14:creationId xmlns:p14="http://schemas.microsoft.com/office/powerpoint/2010/main" val="1113342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exto">
    <p:spTree>
      <p:nvGrpSpPr>
        <p:cNvPr id="1" name=""/>
        <p:cNvGrpSpPr/>
        <p:nvPr/>
      </p:nvGrpSpPr>
      <p:grpSpPr>
        <a:xfrm>
          <a:off x="0" y="0"/>
          <a:ext cx="0" cy="0"/>
          <a:chOff x="0" y="0"/>
          <a:chExt cx="0" cy="0"/>
        </a:xfrm>
      </p:grpSpPr>
      <p:graphicFrame>
        <p:nvGraphicFramePr>
          <p:cNvPr id="36" name="35 Objeto" hidden="1"/>
          <p:cNvGraphicFramePr>
            <a:graphicFrameLocks noChangeAspect="1"/>
          </p:cNvGraphicFramePr>
          <p:nvPr userDrawn="1">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2617" name="Diapositiva de think-cell" r:id="rId11" imgW="270" imgH="270" progId="TCLayout.ActiveDocument.1">
                  <p:embed/>
                </p:oleObj>
              </mc:Choice>
              <mc:Fallback>
                <p:oleObj name="Diapositiva de think-cell" r:id="rId11" imgW="270" imgH="270" progId="TCLayout.ActiveDocument.1">
                  <p:embed/>
                  <p:pic>
                    <p:nvPicPr>
                      <p:cNvPr id="0" name=""/>
                      <p:cNvPicPr/>
                      <p:nvPr/>
                    </p:nvPicPr>
                    <p:blipFill>
                      <a:blip r:embed="rId12"/>
                      <a:stretch>
                        <a:fillRect/>
                      </a:stretch>
                    </p:blipFill>
                    <p:spPr>
                      <a:xfrm>
                        <a:off x="1" y="0"/>
                        <a:ext cx="211667" cy="158750"/>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xmlns="" id="{996E9F4A-95FD-4234-B07C-6539DF689327}"/>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9" name="5 Marcador de número de diapositiva"/>
          <p:cNvSpPr>
            <a:spLocks noGrp="1"/>
          </p:cNvSpPr>
          <p:nvPr>
            <p:ph type="sldNum" sz="quarter" idx="4"/>
            <p:custDataLst>
              <p:tags r:id="rId4"/>
            </p:custDataLst>
          </p:nvPr>
        </p:nvSpPr>
        <p:spPr>
          <a:xfrm>
            <a:off x="11664619" y="6488968"/>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1" name="4 Marcador de pie de página"/>
          <p:cNvSpPr>
            <a:spLocks noGrp="1"/>
          </p:cNvSpPr>
          <p:nvPr>
            <p:ph type="ftr" sz="quarter" idx="3"/>
            <p:custDataLst>
              <p:tags r:id="rId5"/>
            </p:custDataLst>
          </p:nvPr>
        </p:nvSpPr>
        <p:spPr>
          <a:xfrm>
            <a:off x="527381" y="6488968"/>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a:solidFill>
                <a:srgbClr val="000000"/>
              </a:solidFill>
            </a:endParaRPr>
          </a:p>
        </p:txBody>
      </p:sp>
      <p:sp>
        <p:nvSpPr>
          <p:cNvPr id="14" name="6 Rectángulo"/>
          <p:cNvSpPr/>
          <p:nvPr userDrawn="1">
            <p:custDataLst>
              <p:tags r:id="rId6"/>
            </p:custDataLst>
          </p:nvPr>
        </p:nvSpPr>
        <p:spPr>
          <a:xfrm>
            <a:off x="0" y="6669384"/>
            <a:ext cx="12192000" cy="216000"/>
          </a:xfrm>
          <a:prstGeom prst="rect">
            <a:avLst/>
          </a:prstGeom>
          <a:solidFill>
            <a:srgbClr val="1E6C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s-CL">
              <a:solidFill>
                <a:srgbClr val="FFFFFF"/>
              </a:solidFill>
              <a:cs typeface="Arial" panose="020B0604020202020204" pitchFamily="34" charset="0"/>
              <a:sym typeface="Arial" panose="020B0604020202020204" pitchFamily="34" charset="0"/>
            </a:endParaRPr>
          </a:p>
        </p:txBody>
      </p:sp>
      <p:pic>
        <p:nvPicPr>
          <p:cNvPr id="15" name="Picture 2"/>
          <p:cNvPicPr>
            <a:picLocks noChangeAspect="1" noChangeArrowheads="1"/>
          </p:cNvPicPr>
          <p:nvPr userDrawn="1">
            <p:custDataLst>
              <p:tags r:id="rId7"/>
            </p:custDataLst>
          </p:nvPr>
        </p:nvPicPr>
        <p:blipFill>
          <a:blip r:embed="rId13">
            <a:extLst>
              <a:ext uri="{28A0092B-C50C-407E-A947-70E740481C1C}">
                <a14:useLocalDpi xmlns:a14="http://schemas.microsoft.com/office/drawing/2010/main" val="0"/>
              </a:ext>
            </a:extLst>
          </a:blip>
          <a:srcRect/>
          <a:stretch>
            <a:fillRect/>
          </a:stretch>
        </p:blipFill>
        <p:spPr bwMode="auto">
          <a:xfrm>
            <a:off x="11472597" y="116635"/>
            <a:ext cx="682824" cy="487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4 Título"/>
          <p:cNvSpPr>
            <a:spLocks noGrp="1"/>
          </p:cNvSpPr>
          <p:nvPr>
            <p:ph type="title"/>
            <p:custDataLst>
              <p:tags r:id="rId8"/>
            </p:custDataLst>
          </p:nvPr>
        </p:nvSpPr>
        <p:spPr>
          <a:xfrm>
            <a:off x="527381" y="168898"/>
            <a:ext cx="11343051" cy="307777"/>
          </a:xfrm>
          <a:prstGeom prst="rect">
            <a:avLst/>
          </a:prstGeom>
        </p:spPr>
        <p:txBody>
          <a:bodyPr/>
          <a:lstStyle>
            <a:lvl1pPr>
              <a:defRPr/>
            </a:lvl1pPr>
          </a:lstStyle>
          <a:p>
            <a:r>
              <a:rPr lang="es-ES"/>
              <a:t>Haga clic para modificar el estilo de título del patrón</a:t>
            </a:r>
            <a:endParaRPr lang="es-CL"/>
          </a:p>
        </p:txBody>
      </p:sp>
      <p:sp>
        <p:nvSpPr>
          <p:cNvPr id="8" name="7 Marcador de contenido"/>
          <p:cNvSpPr>
            <a:spLocks noGrp="1"/>
          </p:cNvSpPr>
          <p:nvPr>
            <p:ph sz="quarter" idx="10" hasCustomPrompt="1"/>
            <p:custDataLst>
              <p:tags r:id="rId9"/>
            </p:custDataLst>
          </p:nvPr>
        </p:nvSpPr>
        <p:spPr>
          <a:xfrm>
            <a:off x="527052" y="466728"/>
            <a:ext cx="11286067" cy="288925"/>
          </a:xfrm>
          <a:prstGeom prst="rect">
            <a:avLst/>
          </a:prstGeom>
        </p:spPr>
        <p:txBody>
          <a:bodyPr lIns="0" anchor="ctr"/>
          <a:lstStyle>
            <a:lvl1pPr marL="0" indent="0">
              <a:buNone/>
              <a:defRPr sz="1800" baseline="0">
                <a:solidFill>
                  <a:srgbClr val="195A28"/>
                </a:solidFill>
              </a:defRPr>
            </a:lvl1pPr>
          </a:lstStyle>
          <a:p>
            <a:pPr lvl="0"/>
            <a:r>
              <a:rPr lang="es-ES"/>
              <a:t>Haga clic para agregar subtítulo</a:t>
            </a:r>
          </a:p>
        </p:txBody>
      </p:sp>
    </p:spTree>
    <p:extLst>
      <p:ext uri="{BB962C8B-B14F-4D97-AF65-F5344CB8AC3E}">
        <p14:creationId xmlns:p14="http://schemas.microsoft.com/office/powerpoint/2010/main" val="5184373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4665"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EBF0A514-2D5A-43E2-9BFD-E5664B8BDA64}"/>
              </a:ext>
            </a:extLst>
          </p:cNvPr>
          <p:cNvSpPr/>
          <p:nvPr userDrawn="1">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solidFill>
                <a:srgbClr val="FFFFFF"/>
              </a:solidFill>
              <a:latin typeface="Arial" pitchFamily="34" charset="0"/>
              <a:cs typeface="Arial" pitchFamily="34" charset="0"/>
              <a:sym typeface="Arial" panose="020B0604020202020204" pitchFamily="34" charset="0"/>
            </a:endParaRPr>
          </a:p>
        </p:txBody>
      </p:sp>
      <p:sp>
        <p:nvSpPr>
          <p:cNvPr id="8" name="1 Marcador de título"/>
          <p:cNvSpPr>
            <a:spLocks noGrp="1"/>
          </p:cNvSpPr>
          <p:nvPr>
            <p:ph type="title" hasCustomPrompt="1"/>
          </p:nvPr>
        </p:nvSpPr>
        <p:spPr bwMode="auto">
          <a:xfrm>
            <a:off x="527381" y="168898"/>
            <a:ext cx="106571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a:t>Haga clic para modificar estilo de título del patrón</a:t>
            </a:r>
            <a:endParaRPr lang="es-CL" altLang="es-CL"/>
          </a:p>
        </p:txBody>
      </p:sp>
      <p:sp>
        <p:nvSpPr>
          <p:cNvPr id="9" name="5 Marcador de número de diapositiva"/>
          <p:cNvSpPr>
            <a:spLocks noGrp="1"/>
          </p:cNvSpPr>
          <p:nvPr>
            <p:ph type="sldNum" sz="quarter" idx="4"/>
          </p:nvPr>
        </p:nvSpPr>
        <p:spPr>
          <a:xfrm>
            <a:off x="11520651" y="6587480"/>
            <a:ext cx="432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527381" y="6587480"/>
            <a:ext cx="10657184"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fontAlgn="base">
              <a:spcBef>
                <a:spcPct val="0"/>
              </a:spcBef>
              <a:spcAft>
                <a:spcPct val="0"/>
              </a:spcAft>
              <a:tabLst>
                <a:tab pos="535870" algn="r"/>
              </a:tabLst>
            </a:pPr>
            <a:endParaRPr>
              <a:solidFill>
                <a:srgbClr val="000000"/>
              </a:solidFill>
            </a:endParaRPr>
          </a:p>
        </p:txBody>
      </p:sp>
      <p:pic>
        <p:nvPicPr>
          <p:cNvPr id="11" name="Imagen 10"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280578" y="116635"/>
            <a:ext cx="715553" cy="536665"/>
          </a:xfrm>
          <a:prstGeom prst="rect">
            <a:avLst/>
          </a:prstGeom>
        </p:spPr>
      </p:pic>
      <p:cxnSp>
        <p:nvCxnSpPr>
          <p:cNvPr id="13" name="Conector recto 12"/>
          <p:cNvCxnSpPr/>
          <p:nvPr userDrawn="1"/>
        </p:nvCxnSpPr>
        <p:spPr>
          <a:xfrm>
            <a:off x="527381" y="792322"/>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527381" y="6416840"/>
            <a:ext cx="11424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6277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oleObject" Target="../embeddings/oleObject20.bin"/><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4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46.xml"/><Relationship Id="rId5" Type="http://schemas.openxmlformats.org/officeDocument/2006/relationships/slideLayout" Target="../slideLayouts/slideLayout25.xml"/><Relationship Id="rId15" Type="http://schemas.openxmlformats.org/officeDocument/2006/relationships/image" Target="../media/image10.emf"/><Relationship Id="rId10" Type="http://schemas.openxmlformats.org/officeDocument/2006/relationships/vmlDrawing" Target="../drawings/vmlDrawing20.vml"/><Relationship Id="rId4" Type="http://schemas.openxmlformats.org/officeDocument/2006/relationships/slideLayout" Target="../slideLayouts/slideLayout24.xml"/><Relationship Id="rId9" Type="http://schemas.openxmlformats.org/officeDocument/2006/relationships/theme" Target="../theme/theme2.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oleObject" Target="../embeddings/oleObject29.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6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63.xml"/><Relationship Id="rId5" Type="http://schemas.openxmlformats.org/officeDocument/2006/relationships/slideLayout" Target="../slideLayouts/slideLayout33.xml"/><Relationship Id="rId15" Type="http://schemas.openxmlformats.org/officeDocument/2006/relationships/image" Target="../media/image10.emf"/><Relationship Id="rId10" Type="http://schemas.openxmlformats.org/officeDocument/2006/relationships/vmlDrawing" Target="../drawings/vmlDrawing29.vml"/><Relationship Id="rId4" Type="http://schemas.openxmlformats.org/officeDocument/2006/relationships/slideLayout" Target="../slideLayouts/slideLayout32.xml"/><Relationship Id="rId9" Type="http://schemas.openxmlformats.org/officeDocument/2006/relationships/theme" Target="../theme/theme3.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3"/>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4425" name="Diapositiva de think-cell" r:id="rId25" imgW="270" imgH="270" progId="TCLayout.ActiveDocument.1">
                  <p:embed/>
                </p:oleObj>
              </mc:Choice>
              <mc:Fallback>
                <p:oleObj name="Diapositiva de think-cell" r:id="rId25" imgW="270" imgH="270" progId="TCLayout.ActiveDocument.1">
                  <p:embed/>
                  <p:pic>
                    <p:nvPicPr>
                      <p:cNvPr id="0" name=""/>
                      <p:cNvPicPr/>
                      <p:nvPr/>
                    </p:nvPicPr>
                    <p:blipFill>
                      <a:blip r:embed="rId26"/>
                      <a:stretch>
                        <a:fillRect/>
                      </a:stretch>
                    </p:blipFill>
                    <p:spPr>
                      <a:xfrm>
                        <a:off x="2119" y="1591"/>
                        <a:ext cx="2116" cy="1587"/>
                      </a:xfrm>
                      <a:prstGeom prst="rect">
                        <a:avLst/>
                      </a:prstGeom>
                    </p:spPr>
                  </p:pic>
                </p:oleObj>
              </mc:Fallback>
            </mc:AlternateContent>
          </a:graphicData>
        </a:graphic>
      </p:graphicFrame>
      <p:sp>
        <p:nvSpPr>
          <p:cNvPr id="4" name="Rectángulo 3" hidden="1"/>
          <p:cNvSpPr/>
          <p:nvPr>
            <p:custDataLst>
              <p:tags r:id="rId24"/>
            </p:custDataLst>
          </p:nvPr>
        </p:nvSpPr>
        <p:spPr bwMode="auto">
          <a:xfrm>
            <a:off x="1" y="0"/>
            <a:ext cx="211667"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s-CL" sz="1400">
              <a:solidFill>
                <a:srgbClr val="FFFFFF"/>
              </a:solidFill>
              <a:sym typeface="Calibri" panose="020F0502020204030204" pitchFamily="34" charset="0"/>
            </a:endParaRPr>
          </a:p>
        </p:txBody>
      </p:sp>
    </p:spTree>
    <p:extLst>
      <p:ext uri="{BB962C8B-B14F-4D97-AF65-F5344CB8AC3E}">
        <p14:creationId xmlns:p14="http://schemas.microsoft.com/office/powerpoint/2010/main" val="23260175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Lst>
  <p:hf hdr="0" dt="0"/>
  <p:txStyles>
    <p:titleStyle>
      <a:lvl1pPr algn="l" rtl="0" eaLnBrk="1" fontAlgn="base" hangingPunct="1">
        <a:spcBef>
          <a:spcPct val="0"/>
        </a:spcBef>
        <a:spcAft>
          <a:spcPct val="0"/>
        </a:spcAft>
        <a:defRPr lang="es-CL" altLang="es-CL" sz="2000" b="1" kern="1200" cap="all" baseline="0" smtClean="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lang="es-ES" altLang="es-CL" sz="1600" kern="1200" smtClean="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lang="es-ES" altLang="es-CL" sz="1400" kern="1200" smtClean="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lang="es-CL" altLang="es-CL" sz="20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6" name="Diapositiva de think-cell" r:id="rId13" imgW="415" imgH="416" progId="TCLayout.ActiveDocument.1">
                  <p:embed/>
                </p:oleObj>
              </mc:Choice>
              <mc:Fallback>
                <p:oleObj name="Diapositiva de think-cell" r:id="rId13" imgW="415" imgH="41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8" name="Rectángulo 7"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4400" dirty="0">
              <a:solidFill>
                <a:prstClr val="white"/>
              </a:solidFill>
              <a:latin typeface="Calibri Light" panose="020F0302020204030204" pitchFamily="34" charset="0"/>
              <a:sym typeface="Calibri Light" panose="020F0302020204030204" pitchFamily="34" charset="0"/>
            </a:endParaRPr>
          </a:p>
        </p:txBody>
      </p:sp>
      <p:sp>
        <p:nvSpPr>
          <p:cNvPr id="2" name="Marcador de título 1">
            <a:extLst>
              <a:ext uri="{FF2B5EF4-FFF2-40B4-BE49-F238E27FC236}">
                <a16:creationId xmlns="" xmlns:a16="http://schemas.microsoft.com/office/drawing/2014/main" id="{5AAA65E6-9284-FE47-92ED-219C1C68AC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L" dirty="0" smtClean="0"/>
              <a:t>Haga clic para modificar el estilo de título del patrón</a:t>
            </a:r>
            <a:endParaRPr lang="es-CL" dirty="0"/>
          </a:p>
        </p:txBody>
      </p:sp>
      <p:sp>
        <p:nvSpPr>
          <p:cNvPr id="3" name="Marcador de texto 2">
            <a:extLst>
              <a:ext uri="{FF2B5EF4-FFF2-40B4-BE49-F238E27FC236}">
                <a16:creationId xmlns="" xmlns:a16="http://schemas.microsoft.com/office/drawing/2014/main" id="{000DEF8F-C4BA-E04B-A41A-F15C0F1F9C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4" name="Marcador de fecha 3">
            <a:extLst>
              <a:ext uri="{FF2B5EF4-FFF2-40B4-BE49-F238E27FC236}">
                <a16:creationId xmlns="" xmlns:a16="http://schemas.microsoft.com/office/drawing/2014/main" id="{E8BE366B-C370-CA4D-9C0E-D21B43889B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5" name="Marcador de pie de página 4">
            <a:extLst>
              <a:ext uri="{FF2B5EF4-FFF2-40B4-BE49-F238E27FC236}">
                <a16:creationId xmlns="" xmlns:a16="http://schemas.microsoft.com/office/drawing/2014/main" id="{CCAC692E-6530-EA47-803B-0BF10B0D88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a:defRPr sz="1200">
                <a:solidFill>
                  <a:schemeClr val="tx1">
                    <a:tint val="75000"/>
                  </a:schemeClr>
                </a:solidFill>
              </a:defRPr>
            </a:lvl1pPr>
          </a:lstStyle>
          <a:p>
            <a:endParaRPr lang="es-CL" dirty="0">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5A3973AC-49F1-3045-991A-F40E9C1B36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pic>
        <p:nvPicPr>
          <p:cNvPr id="7" name="Imagen 6">
            <a:extLst>
              <a:ext uri="{FF2B5EF4-FFF2-40B4-BE49-F238E27FC236}">
                <a16:creationId xmlns="" xmlns:a16="http://schemas.microsoft.com/office/drawing/2014/main" id="{C52C79FC-E0F6-7143-AEE2-55C27B2CB689}"/>
              </a:ext>
            </a:extLst>
          </p:cNvPr>
          <p:cNvPicPr>
            <a:picLocks noChangeAspect="1"/>
          </p:cNvPicPr>
          <p:nvPr userDrawn="1"/>
        </p:nvPicPr>
        <p:blipFill>
          <a:blip r:embed="rId15"/>
          <a:stretch>
            <a:fillRect/>
          </a:stretch>
        </p:blipFill>
        <p:spPr>
          <a:xfrm>
            <a:off x="11006138" y="441325"/>
            <a:ext cx="635000" cy="635000"/>
          </a:xfrm>
          <a:prstGeom prst="rect">
            <a:avLst/>
          </a:prstGeom>
        </p:spPr>
      </p:pic>
    </p:spTree>
    <p:extLst>
      <p:ext uri="{BB962C8B-B14F-4D97-AF65-F5344CB8AC3E}">
        <p14:creationId xmlns:p14="http://schemas.microsoft.com/office/powerpoint/2010/main" val="131599877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userDrawn="1">
            <p:custDataLst>
              <p:tags r:id="rId1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28" name="Diapositiva de think-cell" r:id="rId13" imgW="415" imgH="416" progId="TCLayout.ActiveDocument.1">
                  <p:embed/>
                </p:oleObj>
              </mc:Choice>
              <mc:Fallback>
                <p:oleObj name="Diapositiva de think-cell" r:id="rId13" imgW="415" imgH="41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8" name="Rectángulo 7"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4400" dirty="0">
              <a:solidFill>
                <a:prstClr val="white"/>
              </a:solidFill>
              <a:latin typeface="Calibri Light" panose="020F0302020204030204" pitchFamily="34" charset="0"/>
              <a:sym typeface="Calibri Light" panose="020F0302020204030204" pitchFamily="34" charset="0"/>
            </a:endParaRPr>
          </a:p>
        </p:txBody>
      </p:sp>
      <p:sp>
        <p:nvSpPr>
          <p:cNvPr id="2" name="Marcador de título 1">
            <a:extLst>
              <a:ext uri="{FF2B5EF4-FFF2-40B4-BE49-F238E27FC236}">
                <a16:creationId xmlns="" xmlns:a16="http://schemas.microsoft.com/office/drawing/2014/main" id="{5AAA65E6-9284-FE47-92ED-219C1C68AC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L" dirty="0" smtClean="0"/>
              <a:t>Haga clic para modificar el estilo de título del patrón</a:t>
            </a:r>
            <a:endParaRPr lang="es-CL" dirty="0"/>
          </a:p>
        </p:txBody>
      </p:sp>
      <p:sp>
        <p:nvSpPr>
          <p:cNvPr id="3" name="Marcador de texto 2">
            <a:extLst>
              <a:ext uri="{FF2B5EF4-FFF2-40B4-BE49-F238E27FC236}">
                <a16:creationId xmlns="" xmlns:a16="http://schemas.microsoft.com/office/drawing/2014/main" id="{000DEF8F-C4BA-E04B-A41A-F15C0F1F9C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CL" dirty="0" smtClean="0"/>
              <a:t>Haga clic para modificar los estilos de texto del patrón</a:t>
            </a:r>
          </a:p>
          <a:p>
            <a:pPr lvl="1"/>
            <a:r>
              <a:rPr lang="es-CL" dirty="0" smtClean="0"/>
              <a:t>Segundo nivel</a:t>
            </a:r>
          </a:p>
          <a:p>
            <a:pPr lvl="2"/>
            <a:r>
              <a:rPr lang="es-CL" dirty="0" smtClean="0"/>
              <a:t>Tercer nivel</a:t>
            </a:r>
          </a:p>
          <a:p>
            <a:pPr lvl="3"/>
            <a:r>
              <a:rPr lang="es-CL" dirty="0" smtClean="0"/>
              <a:t>Cuarto nivel</a:t>
            </a:r>
          </a:p>
          <a:p>
            <a:pPr lvl="4"/>
            <a:r>
              <a:rPr lang="es-CL" dirty="0" smtClean="0"/>
              <a:t>Quinto nivel</a:t>
            </a:r>
            <a:endParaRPr lang="es-CL" dirty="0"/>
          </a:p>
        </p:txBody>
      </p:sp>
      <p:sp>
        <p:nvSpPr>
          <p:cNvPr id="4" name="Marcador de fecha 3">
            <a:extLst>
              <a:ext uri="{FF2B5EF4-FFF2-40B4-BE49-F238E27FC236}">
                <a16:creationId xmlns="" xmlns:a16="http://schemas.microsoft.com/office/drawing/2014/main" id="{E8BE366B-C370-CA4D-9C0E-D21B43889B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D5451-3540-BC42-88D5-B94CFD7574BC}" type="datetimeFigureOut">
              <a:rPr lang="es-CL" smtClean="0">
                <a:solidFill>
                  <a:prstClr val="black">
                    <a:tint val="75000"/>
                  </a:prstClr>
                </a:solidFill>
              </a:rPr>
              <a:pPr/>
              <a:t>27-10-2021</a:t>
            </a:fld>
            <a:endParaRPr lang="es-CL" dirty="0">
              <a:solidFill>
                <a:prstClr val="black">
                  <a:tint val="75000"/>
                </a:prstClr>
              </a:solidFill>
            </a:endParaRPr>
          </a:p>
        </p:txBody>
      </p:sp>
      <p:sp>
        <p:nvSpPr>
          <p:cNvPr id="5" name="Marcador de pie de página 4">
            <a:extLst>
              <a:ext uri="{FF2B5EF4-FFF2-40B4-BE49-F238E27FC236}">
                <a16:creationId xmlns="" xmlns:a16="http://schemas.microsoft.com/office/drawing/2014/main" id="{CCAC692E-6530-EA47-803B-0BF10B0D88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a:defRPr sz="1200">
                <a:solidFill>
                  <a:schemeClr val="tx1">
                    <a:tint val="75000"/>
                  </a:schemeClr>
                </a:solidFill>
              </a:defRPr>
            </a:lvl1pPr>
          </a:lstStyle>
          <a:p>
            <a:endParaRPr lang="es-CL" dirty="0">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5A3973AC-49F1-3045-991A-F40E9C1B36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F7EA78-2F93-F544-98C4-8AD605A63202}" type="slidenum">
              <a:rPr lang="es-CL" smtClean="0">
                <a:solidFill>
                  <a:prstClr val="black">
                    <a:tint val="75000"/>
                  </a:prstClr>
                </a:solidFill>
              </a:rPr>
              <a:pPr/>
              <a:t>‹Nº›</a:t>
            </a:fld>
            <a:endParaRPr lang="es-CL" dirty="0">
              <a:solidFill>
                <a:prstClr val="black">
                  <a:tint val="75000"/>
                </a:prstClr>
              </a:solidFill>
            </a:endParaRPr>
          </a:p>
        </p:txBody>
      </p:sp>
      <p:pic>
        <p:nvPicPr>
          <p:cNvPr id="7" name="Imagen 6">
            <a:extLst>
              <a:ext uri="{FF2B5EF4-FFF2-40B4-BE49-F238E27FC236}">
                <a16:creationId xmlns="" xmlns:a16="http://schemas.microsoft.com/office/drawing/2014/main" id="{C52C79FC-E0F6-7143-AEE2-55C27B2CB689}"/>
              </a:ext>
            </a:extLst>
          </p:cNvPr>
          <p:cNvPicPr>
            <a:picLocks noChangeAspect="1"/>
          </p:cNvPicPr>
          <p:nvPr userDrawn="1"/>
        </p:nvPicPr>
        <p:blipFill>
          <a:blip r:embed="rId15"/>
          <a:stretch>
            <a:fillRect/>
          </a:stretch>
        </p:blipFill>
        <p:spPr>
          <a:xfrm>
            <a:off x="11006138" y="441325"/>
            <a:ext cx="635000" cy="635000"/>
          </a:xfrm>
          <a:prstGeom prst="rect">
            <a:avLst/>
          </a:prstGeom>
        </p:spPr>
      </p:pic>
    </p:spTree>
    <p:extLst>
      <p:ext uri="{BB962C8B-B14F-4D97-AF65-F5344CB8AC3E}">
        <p14:creationId xmlns:p14="http://schemas.microsoft.com/office/powerpoint/2010/main" val="131522229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1.xml"/><Relationship Id="rId4"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xml"/><Relationship Id="rId10" Type="http://schemas.openxmlformats.org/officeDocument/2006/relationships/image" Target="../media/image15.png"/><Relationship Id="rId4" Type="http://schemas.openxmlformats.org/officeDocument/2006/relationships/slideLayout" Target="../slideLayouts/slideLayout20.xml"/><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85.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3.xml"/><Relationship Id="rId4"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7.png"/><Relationship Id="rId2" Type="http://schemas.openxmlformats.org/officeDocument/2006/relationships/tags" Target="../tags/tag86.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88.xml"/><Relationship Id="rId7" Type="http://schemas.openxmlformats.org/officeDocument/2006/relationships/image" Target="../media/image2.emf"/><Relationship Id="rId2" Type="http://schemas.openxmlformats.org/officeDocument/2006/relationships/tags" Target="../tags/tag87.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5.xml"/><Relationship Id="rId10" Type="http://schemas.openxmlformats.org/officeDocument/2006/relationships/image" Target="../media/image17.png"/><Relationship Id="rId4" Type="http://schemas.openxmlformats.org/officeDocument/2006/relationships/slideLayout" Target="../slideLayouts/slideLayout20.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0.xml"/><Relationship Id="rId7" Type="http://schemas.openxmlformats.org/officeDocument/2006/relationships/image" Target="../media/image2.emf"/><Relationship Id="rId2" Type="http://schemas.openxmlformats.org/officeDocument/2006/relationships/tags" Target="../tags/tag89.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6.xml"/><Relationship Id="rId4" Type="http://schemas.openxmlformats.org/officeDocument/2006/relationships/slideLayout" Target="../slideLayouts/slideLayout20.xml"/><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1.png"/><Relationship Id="rId2" Type="http://schemas.openxmlformats.org/officeDocument/2006/relationships/tags" Target="../tags/tag91.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3.xml"/><Relationship Id="rId7" Type="http://schemas.openxmlformats.org/officeDocument/2006/relationships/image" Target="../media/image2.emf"/><Relationship Id="rId2" Type="http://schemas.openxmlformats.org/officeDocument/2006/relationships/tags" Target="../tags/tag92.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8.xml"/><Relationship Id="rId4" Type="http://schemas.openxmlformats.org/officeDocument/2006/relationships/slideLayout" Target="../slideLayouts/slideLayout20.xml"/><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95.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9.xml"/><Relationship Id="rId4"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35013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43"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8BC594BF-73F1-B340-B8F1-9C1201A8EE58}"/>
              </a:ext>
            </a:extLst>
          </p:cNvPr>
          <p:cNvSpPr>
            <a:spLocks noGrp="1"/>
          </p:cNvSpPr>
          <p:nvPr>
            <p:ph type="ctrTitle"/>
          </p:nvPr>
        </p:nvSpPr>
        <p:spPr>
          <a:xfrm>
            <a:off x="300012" y="3026688"/>
            <a:ext cx="8843988" cy="2387600"/>
          </a:xfrm>
        </p:spPr>
        <p:txBody>
          <a:bodyPr vert="horz"/>
          <a:lstStyle/>
          <a:p>
            <a:pPr lvl="0" eaLnBrk="0" fontAlgn="base" hangingPunct="0">
              <a:lnSpc>
                <a:spcPct val="100000"/>
              </a:lnSpc>
              <a:spcAft>
                <a:spcPct val="0"/>
              </a:spcAft>
            </a:pPr>
            <a:r>
              <a:rPr lang="es-CL" altLang="es-CL" dirty="0">
                <a:ea typeface="Times New Roman" panose="02020603050405020304" pitchFamily="18" charset="0"/>
              </a:rPr>
              <a:t>Manejando el impacto en la </a:t>
            </a:r>
            <a:r>
              <a:rPr lang="es-CL" altLang="es-CL" dirty="0" smtClean="0">
                <a:ea typeface="Times New Roman" panose="02020603050405020304" pitchFamily="18" charset="0"/>
              </a:rPr>
              <a:t>Salud </a:t>
            </a:r>
            <a:r>
              <a:rPr lang="es-CL" altLang="es-CL" dirty="0">
                <a:ea typeface="Times New Roman" panose="02020603050405020304" pitchFamily="18" charset="0"/>
              </a:rPr>
              <a:t>Mental </a:t>
            </a:r>
            <a:r>
              <a:rPr lang="es-CL" altLang="es-CL" dirty="0" smtClean="0">
                <a:ea typeface="Times New Roman" panose="02020603050405020304" pitchFamily="18" charset="0"/>
              </a:rPr>
              <a:t>para un retorno seguro.</a:t>
            </a:r>
            <a:r>
              <a:rPr lang="es-CL" altLang="es-CL" dirty="0"/>
              <a:t/>
            </a:r>
            <a:br>
              <a:rPr lang="es-CL" altLang="es-CL" dirty="0"/>
            </a:br>
            <a:endParaRPr lang="es-CL" dirty="0"/>
          </a:p>
        </p:txBody>
      </p:sp>
      <p:sp>
        <p:nvSpPr>
          <p:cNvPr id="3" name="Subtítulo 2">
            <a:extLst>
              <a:ext uri="{FF2B5EF4-FFF2-40B4-BE49-F238E27FC236}">
                <a16:creationId xmlns="" xmlns:a16="http://schemas.microsoft.com/office/drawing/2014/main" id="{1BF12669-0DD3-334E-84CF-599E7654D7EB}"/>
              </a:ext>
            </a:extLst>
          </p:cNvPr>
          <p:cNvSpPr>
            <a:spLocks noGrp="1"/>
          </p:cNvSpPr>
          <p:nvPr>
            <p:ph type="subTitle" idx="1"/>
          </p:nvPr>
        </p:nvSpPr>
        <p:spPr>
          <a:xfrm>
            <a:off x="136908" y="6395827"/>
            <a:ext cx="10371795" cy="924346"/>
          </a:xfrm>
        </p:spPr>
        <p:txBody>
          <a:bodyPr>
            <a:normAutofit/>
          </a:bodyPr>
          <a:lstStyle/>
          <a:p>
            <a:pPr lvl="0"/>
            <a:r>
              <a:rPr lang="es-CL" altLang="es-CL" dirty="0">
                <a:solidFill>
                  <a:srgbClr val="5B9BD5">
                    <a:lumMod val="60000"/>
                    <a:lumOff val="40000"/>
                  </a:srgbClr>
                </a:solidFill>
              </a:rPr>
              <a:t>Cristina Appelgren P. Consultor </a:t>
            </a:r>
            <a:r>
              <a:rPr lang="es-CL" altLang="es-CL" dirty="0" smtClean="0">
                <a:solidFill>
                  <a:srgbClr val="5B9BD5">
                    <a:lumMod val="60000"/>
                    <a:lumOff val="40000"/>
                  </a:srgbClr>
                </a:solidFill>
              </a:rPr>
              <a:t>Psicosocial </a:t>
            </a:r>
            <a:r>
              <a:rPr lang="es-CL" altLang="es-CL" dirty="0" smtClean="0"/>
              <a:t>Octubre</a:t>
            </a:r>
            <a:r>
              <a:rPr lang="es-CL" altLang="es-CL" dirty="0" smtClean="0"/>
              <a:t> </a:t>
            </a:r>
            <a:r>
              <a:rPr lang="es-CL" altLang="es-CL" dirty="0" smtClean="0"/>
              <a:t>2021</a:t>
            </a:r>
            <a:endParaRPr lang="es-CL" dirty="0"/>
          </a:p>
        </p:txBody>
      </p:sp>
    </p:spTree>
    <p:extLst>
      <p:ext uri="{BB962C8B-B14F-4D97-AF65-F5344CB8AC3E}">
        <p14:creationId xmlns:p14="http://schemas.microsoft.com/office/powerpoint/2010/main" val="38365447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A817ABFB-8BD9-2D44-B69A-F7A1435065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85244" y="1484921"/>
            <a:ext cx="7221512" cy="4060118"/>
          </a:xfrm>
          <a:prstGeom prst="rect">
            <a:avLst/>
          </a:prstGeom>
        </p:spPr>
      </p:pic>
    </p:spTree>
    <p:extLst>
      <p:ext uri="{BB962C8B-B14F-4D97-AF65-F5344CB8AC3E}">
        <p14:creationId xmlns:p14="http://schemas.microsoft.com/office/powerpoint/2010/main" val="35215004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o 15" hidden="1"/>
          <p:cNvGraphicFramePr>
            <a:graphicFrameLocks noChangeAspect="1"/>
          </p:cNvGraphicFramePr>
          <p:nvPr>
            <p:custDataLst>
              <p:tags r:id="rId2"/>
            </p:custDataLst>
            <p:extLst>
              <p:ext uri="{D42A27DB-BD31-4B8C-83A1-F6EECF244321}">
                <p14:modId xmlns:p14="http://schemas.microsoft.com/office/powerpoint/2010/main" val="2116496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0"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ángulo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L" sz="2300" b="1" dirty="0">
              <a:solidFill>
                <a:prstClr val="white"/>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23" name="Grupo 22"/>
          <p:cNvGrpSpPr/>
          <p:nvPr/>
        </p:nvGrpSpPr>
        <p:grpSpPr>
          <a:xfrm>
            <a:off x="5787004" y="3140550"/>
            <a:ext cx="5838887" cy="1923680"/>
            <a:chOff x="2789191" y="29362"/>
            <a:chExt cx="1999415" cy="1424245"/>
          </a:xfrm>
        </p:grpSpPr>
        <p:sp>
          <p:nvSpPr>
            <p:cNvPr id="24" name="Rectángulo redondeado 23"/>
            <p:cNvSpPr/>
            <p:nvPr/>
          </p:nvSpPr>
          <p:spPr>
            <a:xfrm>
              <a:off x="2789191" y="465523"/>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 name="Rectángulo 24"/>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pic>
        <p:nvPicPr>
          <p:cNvPr id="14" name="Picture 12" descr="A close up of a logo&#10;&#10;Description automatically generated">
            <a:extLst>
              <a:ext uri="{FF2B5EF4-FFF2-40B4-BE49-F238E27FC236}">
                <a16:creationId xmlns:a16="http://schemas.microsoft.com/office/drawing/2014/main" xmlns="" id="{B2F359A3-857C-4191-8469-35C49963D3D4}"/>
              </a:ext>
            </a:extLst>
          </p:cNvPr>
          <p:cNvPicPr>
            <a:picLocks noChangeAspect="1"/>
          </p:cNvPicPr>
          <p:nvPr/>
        </p:nvPicPr>
        <p:blipFill rotWithShape="1">
          <a:blip r:embed="rId8">
            <a:clrChange>
              <a:clrFrom>
                <a:srgbClr val="FFFFFF"/>
              </a:clrFrom>
              <a:clrTo>
                <a:srgbClr val="FFFFFF">
                  <a:alpha val="0"/>
                </a:srgbClr>
              </a:clrTo>
            </a:clrChange>
          </a:blip>
          <a:srcRect l="11098" t="2758"/>
          <a:stretch/>
        </p:blipFill>
        <p:spPr>
          <a:xfrm>
            <a:off x="1021671" y="2306028"/>
            <a:ext cx="4693496" cy="3217494"/>
          </a:xfrm>
          <a:prstGeom prst="rect">
            <a:avLst/>
          </a:prstGeom>
        </p:spPr>
      </p:pic>
      <p:grpSp>
        <p:nvGrpSpPr>
          <p:cNvPr id="19" name="Grupo 18"/>
          <p:cNvGrpSpPr/>
          <p:nvPr/>
        </p:nvGrpSpPr>
        <p:grpSpPr>
          <a:xfrm>
            <a:off x="5787004" y="1396047"/>
            <a:ext cx="5838887" cy="1923680"/>
            <a:chOff x="2789191" y="29362"/>
            <a:chExt cx="1999415" cy="1424245"/>
          </a:xfrm>
        </p:grpSpPr>
        <p:sp>
          <p:nvSpPr>
            <p:cNvPr id="20" name="Rectángulo redondeado 19"/>
            <p:cNvSpPr/>
            <p:nvPr/>
          </p:nvSpPr>
          <p:spPr>
            <a:xfrm>
              <a:off x="2789191" y="465523"/>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Rectángulo 20"/>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sp>
        <p:nvSpPr>
          <p:cNvPr id="6" name="Rectángulo 5"/>
          <p:cNvSpPr/>
          <p:nvPr/>
        </p:nvSpPr>
        <p:spPr>
          <a:xfrm>
            <a:off x="5851741" y="2167094"/>
            <a:ext cx="5946324" cy="1077218"/>
          </a:xfrm>
          <a:prstGeom prst="rect">
            <a:avLst/>
          </a:prstGeom>
        </p:spPr>
        <p:txBody>
          <a:bodyPr wrap="square">
            <a:spAutoFit/>
          </a:bodyPr>
          <a:lstStyle/>
          <a:p>
            <a:r>
              <a:rPr lang="es-ES" sz="1600" dirty="0">
                <a:solidFill>
                  <a:schemeClr val="bg1"/>
                </a:solidFill>
                <a:latin typeface="Arial" panose="020B0604020202020204" pitchFamily="34" charset="0"/>
                <a:ea typeface="+mn-lt"/>
                <a:cs typeface="Arial" panose="020B0604020202020204" pitchFamily="34" charset="0"/>
              </a:rPr>
              <a:t>Las pandemias en la </a:t>
            </a:r>
            <a:r>
              <a:rPr lang="es-ES" sz="1600" dirty="0" smtClean="0">
                <a:solidFill>
                  <a:schemeClr val="bg1"/>
                </a:solidFill>
                <a:latin typeface="Arial" panose="020B0604020202020204" pitchFamily="34" charset="0"/>
                <a:ea typeface="+mn-lt"/>
                <a:cs typeface="Arial" panose="020B0604020202020204" pitchFamily="34" charset="0"/>
              </a:rPr>
              <a:t>historia han presentado profundas</a:t>
            </a:r>
          </a:p>
          <a:p>
            <a:r>
              <a:rPr lang="es-ES" sz="1600" dirty="0" smtClean="0">
                <a:solidFill>
                  <a:schemeClr val="bg1"/>
                </a:solidFill>
                <a:latin typeface="Arial" panose="020B0604020202020204" pitchFamily="34" charset="0"/>
                <a:ea typeface="+mn-lt"/>
                <a:cs typeface="Arial" panose="020B0604020202020204" pitchFamily="34" charset="0"/>
              </a:rPr>
              <a:t>repercusiones</a:t>
            </a:r>
            <a:r>
              <a:rPr lang="es-ES" sz="1600" dirty="0">
                <a:solidFill>
                  <a:schemeClr val="bg1"/>
                </a:solidFill>
                <a:latin typeface="Arial" panose="020B0604020202020204" pitchFamily="34" charset="0"/>
                <a:ea typeface="+mn-lt"/>
                <a:cs typeface="Arial" panose="020B0604020202020204" pitchFamily="34" charset="0"/>
              </a:rPr>
              <a:t>. Ya que </a:t>
            </a:r>
            <a:r>
              <a:rPr lang="es-ES" sz="1600" dirty="0">
                <a:solidFill>
                  <a:schemeClr val="bg1"/>
                </a:solidFill>
                <a:latin typeface="Arial" panose="020B0604020202020204" pitchFamily="34" charset="0"/>
                <a:cs typeface="Arial" panose="020B0604020202020204" pitchFamily="34" charset="0"/>
              </a:rPr>
              <a:t>implican un quiebre y un cambio </a:t>
            </a:r>
            <a:endParaRPr lang="es-ES" sz="1600" dirty="0" smtClean="0">
              <a:solidFill>
                <a:schemeClr val="bg1"/>
              </a:solidFill>
              <a:latin typeface="Arial" panose="020B0604020202020204" pitchFamily="34" charset="0"/>
              <a:cs typeface="Arial" panose="020B0604020202020204" pitchFamily="34" charset="0"/>
            </a:endParaRPr>
          </a:p>
          <a:p>
            <a:r>
              <a:rPr lang="es-ES" sz="1600" dirty="0" smtClean="0">
                <a:solidFill>
                  <a:schemeClr val="bg1"/>
                </a:solidFill>
                <a:latin typeface="Arial" panose="020B0604020202020204" pitchFamily="34" charset="0"/>
                <a:cs typeface="Arial" panose="020B0604020202020204" pitchFamily="34" charset="0"/>
              </a:rPr>
              <a:t>abrupto </a:t>
            </a:r>
            <a:r>
              <a:rPr lang="es-ES" sz="1600" dirty="0">
                <a:solidFill>
                  <a:schemeClr val="bg1"/>
                </a:solidFill>
                <a:latin typeface="Arial" panose="020B0604020202020204" pitchFamily="34" charset="0"/>
                <a:cs typeface="Arial" panose="020B0604020202020204" pitchFamily="34" charset="0"/>
              </a:rPr>
              <a:t>para todos en lo cotidiano.</a:t>
            </a:r>
            <a:endParaRPr lang="en-US" sz="1600" dirty="0">
              <a:solidFill>
                <a:schemeClr val="bg1"/>
              </a:solidFill>
              <a:latin typeface="Arial" panose="020B0604020202020204" pitchFamily="34" charset="0"/>
              <a:ea typeface="+mn-lt"/>
              <a:cs typeface="Arial" panose="020B0604020202020204" pitchFamily="34" charset="0"/>
            </a:endParaRPr>
          </a:p>
          <a:p>
            <a:pPr algn="ctr"/>
            <a:endParaRPr lang="en-US" sz="1600" dirty="0">
              <a:latin typeface="Arial" pitchFamily="34" charset="0"/>
              <a:cs typeface="Arial" pitchFamily="34" charset="0"/>
            </a:endParaRPr>
          </a:p>
        </p:txBody>
      </p:sp>
      <p:sp>
        <p:nvSpPr>
          <p:cNvPr id="26" name="Rectángulo 25"/>
          <p:cNvSpPr/>
          <p:nvPr/>
        </p:nvSpPr>
        <p:spPr>
          <a:xfrm>
            <a:off x="5887342" y="3929283"/>
            <a:ext cx="5167242" cy="1077218"/>
          </a:xfrm>
          <a:prstGeom prst="rect">
            <a:avLst/>
          </a:prstGeom>
        </p:spPr>
        <p:txBody>
          <a:bodyPr wrap="square">
            <a:spAutoFit/>
          </a:bodyPr>
          <a:lstStyle/>
          <a:p>
            <a:pPr algn="just"/>
            <a:r>
              <a:rPr lang="es-ES" sz="1600" dirty="0">
                <a:solidFill>
                  <a:schemeClr val="bg1"/>
                </a:solidFill>
                <a:latin typeface="Arial" panose="020B0604020202020204" pitchFamily="34" charset="0"/>
                <a:cs typeface="Arial" panose="020B0604020202020204" pitchFamily="34" charset="0"/>
              </a:rPr>
              <a:t>Enfrentamos distintos factores estresantes frente a los cuales, </a:t>
            </a:r>
            <a:r>
              <a:rPr lang="es-ES" sz="1600" b="1" dirty="0" smtClean="0">
                <a:solidFill>
                  <a:schemeClr val="bg1"/>
                </a:solidFill>
                <a:latin typeface="Arial" panose="020B0604020202020204" pitchFamily="34" charset="0"/>
                <a:cs typeface="Arial" panose="020B0604020202020204" pitchFamily="34" charset="0"/>
              </a:rPr>
              <a:t>es necesario </a:t>
            </a:r>
            <a:r>
              <a:rPr lang="es-ES" sz="1600" b="1" dirty="0">
                <a:solidFill>
                  <a:schemeClr val="bg1"/>
                </a:solidFill>
                <a:latin typeface="Arial" panose="020B0604020202020204" pitchFamily="34" charset="0"/>
                <a:cs typeface="Arial" panose="020B0604020202020204" pitchFamily="34" charset="0"/>
              </a:rPr>
              <a:t>buscar estrategias para </a:t>
            </a:r>
            <a:r>
              <a:rPr lang="es-ES" sz="1600" b="1" dirty="0" smtClean="0">
                <a:solidFill>
                  <a:schemeClr val="bg1"/>
                </a:solidFill>
                <a:latin typeface="Arial" panose="020B0604020202020204" pitchFamily="34" charset="0"/>
                <a:cs typeface="Arial" panose="020B0604020202020204" pitchFamily="34" charset="0"/>
              </a:rPr>
              <a:t>disminuir los </a:t>
            </a:r>
            <a:r>
              <a:rPr lang="es-ES" sz="1600" b="1" dirty="0">
                <a:solidFill>
                  <a:schemeClr val="bg1"/>
                </a:solidFill>
                <a:latin typeface="Arial" panose="020B0604020202020204" pitchFamily="34" charset="0"/>
                <a:cs typeface="Arial" panose="020B0604020202020204" pitchFamily="34" charset="0"/>
              </a:rPr>
              <a:t>efectos negativos en salud mental.</a:t>
            </a:r>
            <a:r>
              <a:rPr lang="es-ES" sz="1600" b="1" dirty="0">
                <a:solidFill>
                  <a:schemeClr val="bg1"/>
                </a:solidFill>
                <a:latin typeface="Arial" panose="020B0604020202020204" pitchFamily="34" charset="0"/>
                <a:ea typeface="Calibri"/>
                <a:cs typeface="Arial" panose="020B0604020202020204" pitchFamily="34" charset="0"/>
              </a:rPr>
              <a:t>​</a:t>
            </a:r>
            <a:endParaRPr lang="en-US" sz="1600" b="1" dirty="0">
              <a:solidFill>
                <a:schemeClr val="bg1"/>
              </a:solidFill>
              <a:latin typeface="Arial" pitchFamily="34" charset="0"/>
              <a:cs typeface="Arial" pitchFamily="34" charset="0"/>
            </a:endParaRPr>
          </a:p>
        </p:txBody>
      </p:sp>
      <p:sp>
        <p:nvSpPr>
          <p:cNvPr id="27" name="Título 26"/>
          <p:cNvSpPr>
            <a:spLocks noGrp="1"/>
          </p:cNvSpPr>
          <p:nvPr>
            <p:ph type="title"/>
          </p:nvPr>
        </p:nvSpPr>
        <p:spPr>
          <a:xfrm>
            <a:off x="470417" y="356186"/>
            <a:ext cx="8800070" cy="1325563"/>
          </a:xfrm>
        </p:spPr>
        <p:txBody>
          <a:bodyPr>
            <a:normAutofit/>
          </a:bodyPr>
          <a:lstStyle/>
          <a:p>
            <a:r>
              <a:rPr lang="es-CL" altLang="es-CL" sz="2300" dirty="0"/>
              <a:t>PANDEMIA Y SALUD MENTAL</a:t>
            </a:r>
            <a:r>
              <a:rPr lang="es-CL" sz="2300" dirty="0">
                <a:latin typeface="Arial"/>
                <a:cs typeface="Arial"/>
              </a:rPr>
              <a:t/>
            </a:r>
            <a:br>
              <a:rPr lang="es-CL" sz="2300" dirty="0">
                <a:latin typeface="Arial"/>
                <a:cs typeface="Arial"/>
              </a:rPr>
            </a:br>
            <a:endParaRPr lang="es-CL" sz="2300" dirty="0"/>
          </a:p>
        </p:txBody>
      </p:sp>
      <p:pic>
        <p:nvPicPr>
          <p:cNvPr id="29" name="Imagen 28"/>
          <p:cNvPicPr>
            <a:picLocks noChangeAspect="1"/>
          </p:cNvPicPr>
          <p:nvPr/>
        </p:nvPicPr>
        <p:blipFill>
          <a:blip r:embed="rId9"/>
          <a:stretch>
            <a:fillRect/>
          </a:stretch>
        </p:blipFill>
        <p:spPr>
          <a:xfrm>
            <a:off x="10976202" y="416935"/>
            <a:ext cx="649689" cy="649689"/>
          </a:xfrm>
          <a:prstGeom prst="rect">
            <a:avLst/>
          </a:prstGeom>
        </p:spPr>
      </p:pic>
      <p:pic>
        <p:nvPicPr>
          <p:cNvPr id="2" name="Imagen 1"/>
          <p:cNvPicPr>
            <a:picLocks noChangeAspect="1"/>
          </p:cNvPicPr>
          <p:nvPr/>
        </p:nvPicPr>
        <p:blipFill>
          <a:blip r:embed="rId10"/>
          <a:stretch>
            <a:fillRect/>
          </a:stretch>
        </p:blipFill>
        <p:spPr>
          <a:xfrm>
            <a:off x="666300" y="2466673"/>
            <a:ext cx="1121761" cy="688908"/>
          </a:xfrm>
          <a:prstGeom prst="rect">
            <a:avLst/>
          </a:prstGeom>
        </p:spPr>
      </p:pic>
      <p:sp>
        <p:nvSpPr>
          <p:cNvPr id="3" name="Rectángulo 2"/>
          <p:cNvSpPr/>
          <p:nvPr/>
        </p:nvSpPr>
        <p:spPr>
          <a:xfrm>
            <a:off x="334297" y="6528618"/>
            <a:ext cx="11548043" cy="307777"/>
          </a:xfrm>
          <a:prstGeom prst="rect">
            <a:avLst/>
          </a:prstGeom>
        </p:spPr>
        <p:txBody>
          <a:bodyPr wrap="square">
            <a:spAutoFit/>
          </a:bodyPr>
          <a:lstStyle/>
          <a:p>
            <a:r>
              <a:rPr lang="es-ES" sz="1400" dirty="0" err="1">
                <a:solidFill>
                  <a:srgbClr val="D8D8D8">
                    <a:lumMod val="90000"/>
                  </a:srgbClr>
                </a:solidFill>
              </a:rPr>
              <a:t>Duval</a:t>
            </a:r>
            <a:r>
              <a:rPr lang="es-ES" sz="1400" dirty="0">
                <a:solidFill>
                  <a:srgbClr val="D8D8D8">
                    <a:lumMod val="90000"/>
                  </a:srgbClr>
                </a:solidFill>
              </a:rPr>
              <a:t>, F., González, F., Rabia, H. Neurobiología del estrés. Rev. </a:t>
            </a:r>
            <a:r>
              <a:rPr lang="es-ES" sz="1400" dirty="0" err="1">
                <a:solidFill>
                  <a:srgbClr val="D8D8D8">
                    <a:lumMod val="90000"/>
                  </a:srgbClr>
                </a:solidFill>
              </a:rPr>
              <a:t>chil</a:t>
            </a:r>
            <a:r>
              <a:rPr lang="es-ES" sz="1400" dirty="0">
                <a:solidFill>
                  <a:srgbClr val="D8D8D8">
                    <a:lumMod val="90000"/>
                  </a:srgbClr>
                </a:solidFill>
              </a:rPr>
              <a:t>. </a:t>
            </a:r>
            <a:r>
              <a:rPr lang="es-ES" sz="1400" dirty="0" err="1">
                <a:solidFill>
                  <a:srgbClr val="D8D8D8">
                    <a:lumMod val="90000"/>
                  </a:srgbClr>
                </a:solidFill>
              </a:rPr>
              <a:t>neuro-psiquiatr</a:t>
            </a:r>
            <a:r>
              <a:rPr lang="es-ES" sz="1400" dirty="0">
                <a:solidFill>
                  <a:srgbClr val="D8D8D8">
                    <a:lumMod val="90000"/>
                  </a:srgbClr>
                </a:solidFill>
              </a:rPr>
              <a:t>. v.48 n.4 Santiago dic. </a:t>
            </a:r>
            <a:r>
              <a:rPr lang="es-ES" sz="1400" dirty="0" smtClean="0">
                <a:solidFill>
                  <a:srgbClr val="D8D8D8">
                    <a:lumMod val="90000"/>
                  </a:srgbClr>
                </a:solidFill>
              </a:rPr>
              <a:t>2010</a:t>
            </a:r>
            <a:endParaRPr lang="es-CL" sz="1400" dirty="0"/>
          </a:p>
        </p:txBody>
      </p:sp>
    </p:spTree>
    <p:extLst>
      <p:ext uri="{BB962C8B-B14F-4D97-AF65-F5344CB8AC3E}">
        <p14:creationId xmlns:p14="http://schemas.microsoft.com/office/powerpoint/2010/main" val="7168359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29085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1"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2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9869A9F5-16E8-7640-AA79-54B0B071697F}"/>
              </a:ext>
            </a:extLst>
          </p:cNvPr>
          <p:cNvSpPr>
            <a:spLocks noGrp="1"/>
          </p:cNvSpPr>
          <p:nvPr>
            <p:ph type="title"/>
          </p:nvPr>
        </p:nvSpPr>
        <p:spPr>
          <a:xfrm>
            <a:off x="464602" y="324898"/>
            <a:ext cx="10593257" cy="1325563"/>
          </a:xfrm>
        </p:spPr>
        <p:txBody>
          <a:bodyPr>
            <a:normAutofit/>
          </a:bodyPr>
          <a:lstStyle/>
          <a:p>
            <a:r>
              <a:rPr lang="es-CL" sz="2300" dirty="0" smtClean="0"/>
              <a:t>Agenda</a:t>
            </a:r>
            <a:r>
              <a:rPr lang="es-CL" sz="2400" dirty="0">
                <a:latin typeface="Arial"/>
                <a:cs typeface="Arial"/>
              </a:rPr>
              <a:t> </a:t>
            </a:r>
            <a:r>
              <a:rPr lang="es-CL" sz="2400" dirty="0" smtClean="0">
                <a:latin typeface="Arial"/>
                <a:cs typeface="Arial"/>
              </a:rPr>
              <a:t/>
            </a:r>
            <a:br>
              <a:rPr lang="es-CL" sz="2400" dirty="0" smtClean="0">
                <a:latin typeface="Arial"/>
                <a:cs typeface="Arial"/>
              </a:rPr>
            </a:br>
            <a:r>
              <a:rPr lang="es-CL" altLang="es-CL" sz="2200" b="0" dirty="0">
                <a:solidFill>
                  <a:srgbClr val="8A004A"/>
                </a:solidFill>
              </a:rPr>
              <a:t/>
            </a:r>
            <a:br>
              <a:rPr lang="es-CL" altLang="es-CL" sz="2200" b="0" dirty="0">
                <a:solidFill>
                  <a:srgbClr val="8A004A"/>
                </a:solidFill>
              </a:rPr>
            </a:br>
            <a:r>
              <a:rPr lang="es-CL" altLang="es-CL" sz="2200" b="0" dirty="0">
                <a:solidFill>
                  <a:srgbClr val="8A004A"/>
                </a:solidFill>
              </a:rPr>
              <a:t> </a:t>
            </a:r>
          </a:p>
        </p:txBody>
      </p:sp>
      <p:sp>
        <p:nvSpPr>
          <p:cNvPr id="3" name="Marcador de contenido 2">
            <a:extLst>
              <a:ext uri="{FF2B5EF4-FFF2-40B4-BE49-F238E27FC236}">
                <a16:creationId xmlns="" xmlns:a16="http://schemas.microsoft.com/office/drawing/2014/main" id="{E7471159-2E44-9C49-95A9-026762FB0EF5}"/>
              </a:ext>
            </a:extLst>
          </p:cNvPr>
          <p:cNvSpPr>
            <a:spLocks noGrp="1"/>
          </p:cNvSpPr>
          <p:nvPr>
            <p:ph idx="1"/>
          </p:nvPr>
        </p:nvSpPr>
        <p:spPr>
          <a:xfrm>
            <a:off x="587375" y="2147776"/>
            <a:ext cx="11017250" cy="4208573"/>
          </a:xfrm>
        </p:spPr>
        <p:txBody>
          <a:bodyPr>
            <a:normAutofit/>
          </a:bodyPr>
          <a:lstStyle/>
          <a:p>
            <a:pPr lvl="0"/>
            <a:r>
              <a:rPr lang="es-CL" sz="2400" dirty="0"/>
              <a:t>Liderazgo y comunicación en </a:t>
            </a:r>
            <a:r>
              <a:rPr lang="es-CL" sz="2400" dirty="0" smtClean="0"/>
              <a:t>crisis</a:t>
            </a:r>
          </a:p>
          <a:p>
            <a:pPr lvl="0"/>
            <a:endParaRPr lang="es-CL" altLang="es-CL" sz="2400" dirty="0"/>
          </a:p>
          <a:p>
            <a:pPr marL="0" indent="0">
              <a:buNone/>
            </a:pPr>
            <a:endParaRPr lang="es-CL" altLang="es-CL" sz="2400" dirty="0"/>
          </a:p>
          <a:p>
            <a:r>
              <a:rPr lang="es-CL" altLang="es-CL" sz="2400" dirty="0"/>
              <a:t>Estrategias de afrontamiento en crisis</a:t>
            </a:r>
          </a:p>
          <a:p>
            <a:pPr marL="0" lvl="0" indent="0">
              <a:buNone/>
            </a:pPr>
            <a:endParaRPr lang="en-US" dirty="0"/>
          </a:p>
        </p:txBody>
      </p:sp>
      <p:pic>
        <p:nvPicPr>
          <p:cNvPr id="7" name="Imagen 6"/>
          <p:cNvPicPr>
            <a:picLocks noChangeAspect="1"/>
          </p:cNvPicPr>
          <p:nvPr/>
        </p:nvPicPr>
        <p:blipFill>
          <a:blip r:embed="rId8"/>
          <a:stretch>
            <a:fillRect/>
          </a:stretch>
        </p:blipFill>
        <p:spPr>
          <a:xfrm>
            <a:off x="10979659" y="441325"/>
            <a:ext cx="646232" cy="652329"/>
          </a:xfrm>
          <a:prstGeom prst="rect">
            <a:avLst/>
          </a:prstGeom>
        </p:spPr>
      </p:pic>
    </p:spTree>
    <p:extLst>
      <p:ext uri="{BB962C8B-B14F-4D97-AF65-F5344CB8AC3E}">
        <p14:creationId xmlns:p14="http://schemas.microsoft.com/office/powerpoint/2010/main" val="13150591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298937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15"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 xmlns:a16="http://schemas.microsoft.com/office/drawing/2014/main" id="{003398C7-B8F6-F04B-8321-FACE4046CAF8}"/>
              </a:ext>
            </a:extLst>
          </p:cNvPr>
          <p:cNvSpPr/>
          <p:nvPr/>
        </p:nvSpPr>
        <p:spPr>
          <a:xfrm>
            <a:off x="848574" y="2147776"/>
            <a:ext cx="5520329" cy="454786"/>
          </a:xfrm>
          <a:prstGeom prst="rect">
            <a:avLst/>
          </a:prstGeom>
          <a:solidFill>
            <a:srgbClr val="8A004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s-CL" sz="1400" dirty="0">
              <a:solidFill>
                <a:srgbClr val="FFFFFF"/>
              </a:solidFill>
              <a:latin typeface="Arial"/>
              <a:cs typeface="Arial" pitchFamily="34" charset="0"/>
            </a:endParaRPr>
          </a:p>
        </p:txBody>
      </p:sp>
      <p:sp>
        <p:nvSpPr>
          <p:cNvPr id="2" name="Título 1">
            <a:extLst>
              <a:ext uri="{FF2B5EF4-FFF2-40B4-BE49-F238E27FC236}">
                <a16:creationId xmlns="" xmlns:a16="http://schemas.microsoft.com/office/drawing/2014/main" id="{9869A9F5-16E8-7640-AA79-54B0B071697F}"/>
              </a:ext>
            </a:extLst>
          </p:cNvPr>
          <p:cNvSpPr>
            <a:spLocks noGrp="1"/>
          </p:cNvSpPr>
          <p:nvPr>
            <p:ph type="title"/>
          </p:nvPr>
        </p:nvSpPr>
        <p:spPr>
          <a:xfrm>
            <a:off x="464603" y="324898"/>
            <a:ext cx="8800070" cy="1325563"/>
          </a:xfrm>
        </p:spPr>
        <p:txBody>
          <a:bodyPr>
            <a:normAutofit/>
          </a:bodyPr>
          <a:lstStyle/>
          <a:p>
            <a:r>
              <a:rPr lang="es-CL" sz="2300" dirty="0"/>
              <a:t>Agenda</a:t>
            </a:r>
          </a:p>
        </p:txBody>
      </p:sp>
      <p:sp>
        <p:nvSpPr>
          <p:cNvPr id="3" name="Marcador de contenido 2">
            <a:extLst>
              <a:ext uri="{FF2B5EF4-FFF2-40B4-BE49-F238E27FC236}">
                <a16:creationId xmlns="" xmlns:a16="http://schemas.microsoft.com/office/drawing/2014/main" id="{E7471159-2E44-9C49-95A9-026762FB0EF5}"/>
              </a:ext>
            </a:extLst>
          </p:cNvPr>
          <p:cNvSpPr>
            <a:spLocks noGrp="1"/>
          </p:cNvSpPr>
          <p:nvPr>
            <p:ph idx="1"/>
          </p:nvPr>
        </p:nvSpPr>
        <p:spPr>
          <a:xfrm>
            <a:off x="587375" y="2147776"/>
            <a:ext cx="11017250" cy="4208573"/>
          </a:xfrm>
        </p:spPr>
        <p:txBody>
          <a:bodyPr>
            <a:normAutofit/>
          </a:bodyPr>
          <a:lstStyle/>
          <a:p>
            <a:pPr lvl="0"/>
            <a:r>
              <a:rPr lang="es-CL" sz="2400" dirty="0">
                <a:solidFill>
                  <a:schemeClr val="bg1"/>
                </a:solidFill>
              </a:rPr>
              <a:t>Liderazgo y comunicación en </a:t>
            </a:r>
            <a:r>
              <a:rPr lang="es-CL" sz="2400" dirty="0" smtClean="0">
                <a:solidFill>
                  <a:schemeClr val="bg1"/>
                </a:solidFill>
              </a:rPr>
              <a:t>crisis</a:t>
            </a:r>
          </a:p>
          <a:p>
            <a:pPr lvl="0"/>
            <a:endParaRPr lang="es-CL" altLang="es-CL" dirty="0"/>
          </a:p>
          <a:p>
            <a:pPr marL="0" indent="0">
              <a:buNone/>
            </a:pPr>
            <a:endParaRPr lang="es-CL" altLang="es-CL" sz="2400" dirty="0">
              <a:solidFill>
                <a:schemeClr val="bg1">
                  <a:lumMod val="85000"/>
                </a:schemeClr>
              </a:solidFill>
            </a:endParaRPr>
          </a:p>
          <a:p>
            <a:r>
              <a:rPr lang="es-CL" altLang="es-CL" sz="2400" dirty="0">
                <a:solidFill>
                  <a:schemeClr val="bg1">
                    <a:lumMod val="85000"/>
                  </a:schemeClr>
                </a:solidFill>
              </a:rPr>
              <a:t>Estrategias de afrontamiento en crisis</a:t>
            </a:r>
          </a:p>
          <a:p>
            <a:pPr marL="0" lvl="0" indent="0">
              <a:buNone/>
            </a:pPr>
            <a:endParaRPr lang="en-US" dirty="0">
              <a:solidFill>
                <a:schemeClr val="bg1">
                  <a:lumMod val="85000"/>
                </a:schemeClr>
              </a:solidFill>
            </a:endParaRPr>
          </a:p>
        </p:txBody>
      </p:sp>
      <p:pic>
        <p:nvPicPr>
          <p:cNvPr id="4" name="Imagen 3"/>
          <p:cNvPicPr>
            <a:picLocks noChangeAspect="1"/>
          </p:cNvPicPr>
          <p:nvPr/>
        </p:nvPicPr>
        <p:blipFill>
          <a:blip r:embed="rId7"/>
          <a:stretch>
            <a:fillRect/>
          </a:stretch>
        </p:blipFill>
        <p:spPr>
          <a:xfrm>
            <a:off x="10979659" y="441325"/>
            <a:ext cx="646232" cy="652329"/>
          </a:xfrm>
          <a:prstGeom prst="rect">
            <a:avLst/>
          </a:prstGeom>
        </p:spPr>
      </p:pic>
    </p:spTree>
    <p:extLst>
      <p:ext uri="{BB962C8B-B14F-4D97-AF65-F5344CB8AC3E}">
        <p14:creationId xmlns:p14="http://schemas.microsoft.com/office/powerpoint/2010/main" val="9226697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p:custDataLst>
              <p:tags r:id="rId2"/>
            </p:custDataLst>
            <p:extLst>
              <p:ext uri="{D42A27DB-BD31-4B8C-83A1-F6EECF244321}">
                <p14:modId xmlns:p14="http://schemas.microsoft.com/office/powerpoint/2010/main" val="5552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46"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31" name="Imagen 30"/>
          <p:cNvPicPr>
            <a:picLocks noChangeAspect="1"/>
          </p:cNvPicPr>
          <p:nvPr/>
        </p:nvPicPr>
        <p:blipFill>
          <a:blip r:embed="rId8"/>
          <a:stretch>
            <a:fillRect/>
          </a:stretch>
        </p:blipFill>
        <p:spPr>
          <a:xfrm>
            <a:off x="3208511" y="1389610"/>
            <a:ext cx="5925826" cy="4663844"/>
          </a:xfrm>
          <a:prstGeom prst="rect">
            <a:avLst/>
          </a:prstGeom>
        </p:spPr>
      </p:pic>
      <p:pic>
        <p:nvPicPr>
          <p:cNvPr id="7" name="Imagen 6"/>
          <p:cNvPicPr>
            <a:picLocks noChangeAspect="1"/>
          </p:cNvPicPr>
          <p:nvPr/>
        </p:nvPicPr>
        <p:blipFill>
          <a:blip r:embed="rId9"/>
          <a:stretch>
            <a:fillRect/>
          </a:stretch>
        </p:blipFill>
        <p:spPr>
          <a:xfrm>
            <a:off x="4638652" y="2708454"/>
            <a:ext cx="2871834" cy="2333679"/>
          </a:xfrm>
          <a:prstGeom prst="rect">
            <a:avLst/>
          </a:prstGeom>
        </p:spPr>
      </p:pic>
      <p:sp>
        <p:nvSpPr>
          <p:cNvPr id="2" name="Título 1">
            <a:extLst>
              <a:ext uri="{FF2B5EF4-FFF2-40B4-BE49-F238E27FC236}">
                <a16:creationId xmlns="" xmlns:a16="http://schemas.microsoft.com/office/drawing/2014/main" id="{43E596C4-73B5-9C46-8898-E2A4FFC3AD7E}"/>
              </a:ext>
            </a:extLst>
          </p:cNvPr>
          <p:cNvSpPr>
            <a:spLocks noGrp="1"/>
          </p:cNvSpPr>
          <p:nvPr>
            <p:ph type="title"/>
          </p:nvPr>
        </p:nvSpPr>
        <p:spPr>
          <a:xfrm>
            <a:off x="513483" y="-49053"/>
            <a:ext cx="8800070" cy="1325563"/>
          </a:xfrm>
        </p:spPr>
        <p:txBody>
          <a:bodyPr>
            <a:normAutofit fontScale="90000"/>
          </a:bodyPr>
          <a:lstStyle/>
          <a:p>
            <a:r>
              <a:rPr lang="es-CL" sz="2800" dirty="0"/>
              <a:t/>
            </a:r>
            <a:br>
              <a:rPr lang="es-CL" sz="2800" dirty="0"/>
            </a:br>
            <a:r>
              <a:rPr lang="es-ES" altLang="es-CL" sz="2600" dirty="0"/>
              <a:t>Liderazgo en una crisis</a:t>
            </a:r>
            <a:br>
              <a:rPr lang="es-ES" altLang="es-CL" sz="2600" dirty="0"/>
            </a:br>
            <a:r>
              <a:rPr lang="es-ES" altLang="es-CL" sz="2200" b="0" dirty="0">
                <a:solidFill>
                  <a:srgbClr val="8A004A"/>
                </a:solidFill>
              </a:rPr>
              <a:t>RECOMENDACIONES FUNDAMENTALES</a:t>
            </a:r>
            <a:br>
              <a:rPr lang="es-ES" altLang="es-CL" sz="2200" b="0" dirty="0">
                <a:solidFill>
                  <a:srgbClr val="8A004A"/>
                </a:solidFill>
              </a:rPr>
            </a:br>
            <a:endParaRPr lang="es-CL" altLang="es-CL" sz="2200" b="0" dirty="0">
              <a:solidFill>
                <a:srgbClr val="8A004A"/>
              </a:solidFill>
            </a:endParaRPr>
          </a:p>
        </p:txBody>
      </p:sp>
      <p:sp>
        <p:nvSpPr>
          <p:cNvPr id="21" name="Rectángulo 20"/>
          <p:cNvSpPr/>
          <p:nvPr/>
        </p:nvSpPr>
        <p:spPr>
          <a:xfrm>
            <a:off x="1715166" y="3758794"/>
            <a:ext cx="1627365" cy="553998"/>
          </a:xfrm>
          <a:prstGeom prst="rect">
            <a:avLst/>
          </a:prstGeom>
        </p:spPr>
        <p:txBody>
          <a:bodyPr wrap="square">
            <a:spAutoFit/>
          </a:bodyPr>
          <a:lstStyle/>
          <a:p>
            <a:pPr lvl="0" algn="ctr"/>
            <a:r>
              <a:rPr lang="en-US" sz="1000" b="1" dirty="0">
                <a:solidFill>
                  <a:schemeClr val="bg1"/>
                </a:solidFill>
                <a:latin typeface="Arial" panose="020B0604020202020204" pitchFamily="34" charset="0"/>
                <a:cs typeface="Arial" panose="020B0604020202020204" pitchFamily="34" charset="0"/>
              </a:rPr>
              <a:t>CALMA DELIBERADA</a:t>
            </a:r>
          </a:p>
          <a:p>
            <a:pPr lvl="0" algn="ctr"/>
            <a:r>
              <a:rPr lang="en-US" sz="1000" b="1" dirty="0">
                <a:solidFill>
                  <a:schemeClr val="bg1"/>
                </a:solidFill>
                <a:latin typeface="Arial" panose="020B0604020202020204" pitchFamily="34" charset="0"/>
                <a:cs typeface="Arial" panose="020B0604020202020204" pitchFamily="34" charset="0"/>
              </a:rPr>
              <a:t> Y OPTIMISMO LIMITADO</a:t>
            </a:r>
          </a:p>
        </p:txBody>
      </p:sp>
      <p:sp>
        <p:nvSpPr>
          <p:cNvPr id="15" name="Rectángulo 14"/>
          <p:cNvSpPr/>
          <p:nvPr/>
        </p:nvSpPr>
        <p:spPr>
          <a:xfrm>
            <a:off x="656274" y="4986967"/>
            <a:ext cx="1256116" cy="400110"/>
          </a:xfrm>
          <a:prstGeom prst="rect">
            <a:avLst/>
          </a:prstGeom>
        </p:spPr>
        <p:txBody>
          <a:bodyPr wrap="square">
            <a:spAutoFit/>
          </a:bodyPr>
          <a:lstStyle/>
          <a:p>
            <a:pPr lvl="0" algn="ctr"/>
            <a:r>
              <a:rPr lang="en-US" sz="1000" b="1" dirty="0" smtClean="0">
                <a:solidFill>
                  <a:schemeClr val="bg1"/>
                </a:solidFill>
                <a:latin typeface="Arial" panose="020B0604020202020204" pitchFamily="34" charset="0"/>
                <a:cs typeface="Arial" panose="020B0604020202020204" pitchFamily="34" charset="0"/>
              </a:rPr>
              <a:t>TOMA DE DECISIONES </a:t>
            </a:r>
            <a:endParaRPr lang="en-US" sz="1000" b="1" dirty="0">
              <a:solidFill>
                <a:schemeClr val="bg1"/>
              </a:solidFill>
              <a:latin typeface="Arial" panose="020B0604020202020204" pitchFamily="34" charset="0"/>
              <a:cs typeface="Arial" panose="020B0604020202020204" pitchFamily="34" charset="0"/>
            </a:endParaRPr>
          </a:p>
        </p:txBody>
      </p:sp>
      <p:sp>
        <p:nvSpPr>
          <p:cNvPr id="25" name="CuadroTexto 24"/>
          <p:cNvSpPr txBox="1"/>
          <p:nvPr/>
        </p:nvSpPr>
        <p:spPr>
          <a:xfrm>
            <a:off x="2076854" y="5294744"/>
            <a:ext cx="612347" cy="153888"/>
          </a:xfrm>
          <a:prstGeom prst="rect">
            <a:avLst/>
          </a:prstGeom>
          <a:noFill/>
        </p:spPr>
        <p:txBody>
          <a:bodyPr wrap="none" lIns="0" tIns="0" rIns="0" bIns="0" rtlCol="0">
            <a:spAutoFit/>
          </a:bodyPr>
          <a:lstStyle/>
          <a:p>
            <a:pPr algn="ctr"/>
            <a:r>
              <a:rPr lang="es-CL" sz="1000" b="1" dirty="0" smtClean="0">
                <a:solidFill>
                  <a:schemeClr val="bg1"/>
                </a:solidFill>
                <a:latin typeface="Arial" panose="020B0604020202020204" pitchFamily="34" charset="0"/>
                <a:cs typeface="Arial" panose="020B0604020202020204" pitchFamily="34" charset="0"/>
              </a:rPr>
              <a:t>EMPATIA </a:t>
            </a:r>
            <a:endParaRPr lang="es-CL" sz="1000" b="1" dirty="0">
              <a:solidFill>
                <a:schemeClr val="bg1"/>
              </a:solidFill>
              <a:latin typeface="Arial" panose="020B0604020202020204" pitchFamily="34" charset="0"/>
              <a:cs typeface="Arial" panose="020B0604020202020204" pitchFamily="34" charset="0"/>
            </a:endParaRPr>
          </a:p>
        </p:txBody>
      </p:sp>
      <p:sp>
        <p:nvSpPr>
          <p:cNvPr id="26" name="CuadroTexto 25"/>
          <p:cNvSpPr txBox="1"/>
          <p:nvPr/>
        </p:nvSpPr>
        <p:spPr>
          <a:xfrm>
            <a:off x="816558" y="3021709"/>
            <a:ext cx="1461021" cy="307777"/>
          </a:xfrm>
          <a:prstGeom prst="rect">
            <a:avLst/>
          </a:prstGeom>
          <a:noFill/>
        </p:spPr>
        <p:txBody>
          <a:bodyPr wrap="square" lIns="0" tIns="0" rIns="0" bIns="0" rtlCol="0">
            <a:spAutoFit/>
          </a:bodyPr>
          <a:lstStyle/>
          <a:p>
            <a:pPr algn="ctr"/>
            <a:r>
              <a:rPr lang="es-CL" sz="1000" b="1" dirty="0">
                <a:solidFill>
                  <a:schemeClr val="bg1"/>
                </a:solidFill>
                <a:latin typeface="Arial" panose="020B0604020202020204" pitchFamily="34" charset="0"/>
                <a:cs typeface="Arial" panose="020B0604020202020204" pitchFamily="34" charset="0"/>
              </a:rPr>
              <a:t>COMUNICACIÓN EFECTIVA </a:t>
            </a:r>
          </a:p>
        </p:txBody>
      </p:sp>
      <p:sp>
        <p:nvSpPr>
          <p:cNvPr id="30" name="CuadroTexto 29"/>
          <p:cNvSpPr txBox="1"/>
          <p:nvPr/>
        </p:nvSpPr>
        <p:spPr>
          <a:xfrm flipH="1">
            <a:off x="2867881" y="1623218"/>
            <a:ext cx="1314405" cy="307777"/>
          </a:xfrm>
          <a:prstGeom prst="rect">
            <a:avLst/>
          </a:prstGeom>
          <a:noFill/>
        </p:spPr>
        <p:txBody>
          <a:bodyPr wrap="square" lIns="0" tIns="0" rIns="0" bIns="0" rtlCol="0">
            <a:spAutoFit/>
          </a:bodyPr>
          <a:lstStyle/>
          <a:p>
            <a:pPr algn="ctr"/>
            <a:r>
              <a:rPr lang="es-CL" sz="1000" b="1" dirty="0" smtClean="0">
                <a:solidFill>
                  <a:schemeClr val="bg1"/>
                </a:solidFill>
                <a:latin typeface="Arial" panose="020B0604020202020204" pitchFamily="34" charset="0"/>
                <a:cs typeface="Arial" panose="020B0604020202020204" pitchFamily="34" charset="0"/>
              </a:rPr>
              <a:t>ORGANIZARSE </a:t>
            </a:r>
            <a:r>
              <a:rPr lang="es-CL" sz="1000" b="1" dirty="0">
                <a:solidFill>
                  <a:schemeClr val="bg1"/>
                </a:solidFill>
                <a:latin typeface="Arial" panose="020B0604020202020204" pitchFamily="34" charset="0"/>
                <a:cs typeface="Arial" panose="020B0604020202020204" pitchFamily="34" charset="0"/>
              </a:rPr>
              <a:t>EN CRISIS</a:t>
            </a:r>
          </a:p>
        </p:txBody>
      </p:sp>
      <p:sp>
        <p:nvSpPr>
          <p:cNvPr id="52" name="Marcador de pie de página 3">
            <a:extLst>
              <a:ext uri="{FF2B5EF4-FFF2-40B4-BE49-F238E27FC236}">
                <a16:creationId xmlns:a16="http://schemas.microsoft.com/office/drawing/2014/main" xmlns="" id="{7F68F2A6-9AC3-404B-8FB1-8846DEB5F782}"/>
              </a:ext>
            </a:extLst>
          </p:cNvPr>
          <p:cNvSpPr txBox="1">
            <a:spLocks/>
          </p:cNvSpPr>
          <p:nvPr/>
        </p:nvSpPr>
        <p:spPr>
          <a:xfrm>
            <a:off x="513483" y="6474078"/>
            <a:ext cx="10657184" cy="153888"/>
          </a:xfrm>
          <a:prstGeom prst="rect">
            <a:avLst/>
          </a:prstGeom>
        </p:spPr>
        <p:txBody>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64444" indent="-564444" defTabSz="922451" fontAlgn="base">
              <a:spcBef>
                <a:spcPct val="0"/>
              </a:spcBef>
              <a:spcAft>
                <a:spcPct val="0"/>
              </a:spcAft>
              <a:tabLst>
                <a:tab pos="535870" algn="r"/>
              </a:tabLst>
            </a:pPr>
            <a:r>
              <a:rPr lang="en-US" sz="1200" dirty="0" err="1" smtClean="0">
                <a:solidFill>
                  <a:srgbClr val="000000"/>
                </a:solidFill>
              </a:rPr>
              <a:t>D’Auria</a:t>
            </a:r>
            <a:r>
              <a:rPr lang="en-US" sz="1200" dirty="0" smtClean="0">
                <a:solidFill>
                  <a:srgbClr val="000000"/>
                </a:solidFill>
              </a:rPr>
              <a:t>, G., De </a:t>
            </a:r>
            <a:r>
              <a:rPr lang="en-US" sz="1200" dirty="0" err="1" smtClean="0">
                <a:solidFill>
                  <a:srgbClr val="000000"/>
                </a:solidFill>
              </a:rPr>
              <a:t>Smet</a:t>
            </a:r>
            <a:r>
              <a:rPr lang="en-US" sz="1200" dirty="0" smtClean="0">
                <a:solidFill>
                  <a:srgbClr val="000000"/>
                </a:solidFill>
              </a:rPr>
              <a:t>, A. Leadership in a crisis: Responding to the coronavirus outbreak and future challenges. </a:t>
            </a:r>
            <a:r>
              <a:rPr lang="en-US" sz="1200" dirty="0" err="1" smtClean="0">
                <a:solidFill>
                  <a:srgbClr val="000000"/>
                </a:solidFill>
              </a:rPr>
              <a:t>MacKinsey</a:t>
            </a:r>
            <a:r>
              <a:rPr lang="en-US" sz="1200" dirty="0" smtClean="0">
                <a:solidFill>
                  <a:srgbClr val="000000"/>
                </a:solidFill>
              </a:rPr>
              <a:t> &amp; Company. </a:t>
            </a:r>
            <a:r>
              <a:rPr lang="en-US" sz="1200" dirty="0" err="1" smtClean="0">
                <a:solidFill>
                  <a:srgbClr val="000000"/>
                </a:solidFill>
              </a:rPr>
              <a:t>Marzo</a:t>
            </a:r>
            <a:r>
              <a:rPr lang="en-US" sz="1200" dirty="0" smtClean="0">
                <a:solidFill>
                  <a:srgbClr val="000000"/>
                </a:solidFill>
              </a:rPr>
              <a:t> 2020.</a:t>
            </a:r>
            <a:endParaRPr lang="es-CL" sz="1200" dirty="0">
              <a:solidFill>
                <a:srgbClr val="000000"/>
              </a:solidFill>
            </a:endParaRPr>
          </a:p>
        </p:txBody>
      </p:sp>
      <p:pic>
        <p:nvPicPr>
          <p:cNvPr id="73" name="Imagen 72"/>
          <p:cNvPicPr>
            <a:picLocks noChangeAspect="1"/>
          </p:cNvPicPr>
          <p:nvPr/>
        </p:nvPicPr>
        <p:blipFill>
          <a:blip r:embed="rId10"/>
          <a:stretch>
            <a:fillRect/>
          </a:stretch>
        </p:blipFill>
        <p:spPr>
          <a:xfrm>
            <a:off x="10958393" y="455364"/>
            <a:ext cx="646232" cy="652329"/>
          </a:xfrm>
          <a:prstGeom prst="rect">
            <a:avLst/>
          </a:prstGeom>
        </p:spPr>
      </p:pic>
    </p:spTree>
    <p:extLst>
      <p:ext uri="{BB962C8B-B14F-4D97-AF65-F5344CB8AC3E}">
        <p14:creationId xmlns:p14="http://schemas.microsoft.com/office/powerpoint/2010/main" val="9640768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105527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66"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ángulo 9" hidden="1"/>
          <p:cNvSpPr/>
          <p:nvPr>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36" name="Imagen 35"/>
          <p:cNvPicPr>
            <a:picLocks noChangeAspect="1"/>
          </p:cNvPicPr>
          <p:nvPr/>
        </p:nvPicPr>
        <p:blipFill>
          <a:blip r:embed="rId8"/>
          <a:stretch>
            <a:fillRect/>
          </a:stretch>
        </p:blipFill>
        <p:spPr>
          <a:xfrm>
            <a:off x="5162737" y="4717637"/>
            <a:ext cx="5895343" cy="579170"/>
          </a:xfrm>
          <a:prstGeom prst="rect">
            <a:avLst/>
          </a:prstGeom>
        </p:spPr>
      </p:pic>
      <p:sp>
        <p:nvSpPr>
          <p:cNvPr id="2" name="Título 1">
            <a:extLst>
              <a:ext uri="{FF2B5EF4-FFF2-40B4-BE49-F238E27FC236}">
                <a16:creationId xmlns="" xmlns:a16="http://schemas.microsoft.com/office/drawing/2014/main" id="{9869A9F5-16E8-7640-AA79-54B0B071697F}"/>
              </a:ext>
            </a:extLst>
          </p:cNvPr>
          <p:cNvSpPr>
            <a:spLocks noGrp="1"/>
          </p:cNvSpPr>
          <p:nvPr>
            <p:ph type="title"/>
          </p:nvPr>
        </p:nvSpPr>
        <p:spPr>
          <a:xfrm>
            <a:off x="550863" y="324899"/>
            <a:ext cx="9274820" cy="483176"/>
          </a:xfrm>
        </p:spPr>
        <p:txBody>
          <a:bodyPr>
            <a:normAutofit fontScale="90000"/>
          </a:bodyPr>
          <a:lstStyle/>
          <a:p>
            <a:r>
              <a:rPr lang="es-ES" sz="2600" dirty="0"/>
              <a:t>Comunicaciones en situaciones de COVID-19</a:t>
            </a:r>
            <a:br>
              <a:rPr lang="es-ES" sz="2600" dirty="0"/>
            </a:br>
            <a:r>
              <a:rPr lang="es-ES" altLang="es-CL" sz="2200" b="0" dirty="0">
                <a:solidFill>
                  <a:srgbClr val="8A004A"/>
                </a:solidFill>
              </a:rPr>
              <a:t>Cómo contener a trabajadores en crisis</a:t>
            </a:r>
            <a:br>
              <a:rPr lang="es-ES" altLang="es-CL" sz="2200" b="0" dirty="0">
                <a:solidFill>
                  <a:srgbClr val="8A004A"/>
                </a:solidFill>
              </a:rPr>
            </a:br>
            <a:endParaRPr lang="es-CL" altLang="es-CL" sz="2200" b="0" dirty="0">
              <a:solidFill>
                <a:srgbClr val="8A004A"/>
              </a:solidFill>
            </a:endParaRPr>
          </a:p>
        </p:txBody>
      </p:sp>
      <p:cxnSp>
        <p:nvCxnSpPr>
          <p:cNvPr id="9" name="Conector recto de flecha 8"/>
          <p:cNvCxnSpPr/>
          <p:nvPr/>
        </p:nvCxnSpPr>
        <p:spPr>
          <a:xfrm>
            <a:off x="3677781" y="3394501"/>
            <a:ext cx="1087120"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CuadroTexto 13"/>
          <p:cNvSpPr txBox="1"/>
          <p:nvPr/>
        </p:nvSpPr>
        <p:spPr>
          <a:xfrm>
            <a:off x="6124353" y="1860698"/>
            <a:ext cx="1763303" cy="215444"/>
          </a:xfrm>
          <a:prstGeom prst="rect">
            <a:avLst/>
          </a:prstGeom>
          <a:noFill/>
        </p:spPr>
        <p:txBody>
          <a:bodyPr wrap="none" lIns="0" tIns="0" rIns="0" bIns="0" rtlCol="0">
            <a:spAutoFit/>
          </a:bodyPr>
          <a:lstStyle/>
          <a:p>
            <a:r>
              <a:rPr lang="es-CL" sz="1400" dirty="0" smtClean="0">
                <a:solidFill>
                  <a:schemeClr val="bg1"/>
                </a:solidFill>
                <a:latin typeface="Arial" pitchFamily="34" charset="0"/>
                <a:cs typeface="Arial" pitchFamily="34" charset="0"/>
              </a:rPr>
              <a:t>Necesidades </a:t>
            </a:r>
            <a:r>
              <a:rPr lang="es-CL" sz="1400" dirty="0">
                <a:solidFill>
                  <a:schemeClr val="bg1"/>
                </a:solidFill>
                <a:latin typeface="Arial" pitchFamily="34" charset="0"/>
                <a:cs typeface="Arial" pitchFamily="34" charset="0"/>
              </a:rPr>
              <a:t>B</a:t>
            </a:r>
            <a:r>
              <a:rPr lang="es-CL" sz="1400" dirty="0" smtClean="0">
                <a:solidFill>
                  <a:schemeClr val="bg1"/>
                </a:solidFill>
                <a:latin typeface="Arial" pitchFamily="34" charset="0"/>
                <a:cs typeface="Arial" pitchFamily="34" charset="0"/>
              </a:rPr>
              <a:t>ásicas </a:t>
            </a:r>
          </a:p>
        </p:txBody>
      </p:sp>
      <p:grpSp>
        <p:nvGrpSpPr>
          <p:cNvPr id="15" name="Grupo 14"/>
          <p:cNvGrpSpPr/>
          <p:nvPr/>
        </p:nvGrpSpPr>
        <p:grpSpPr>
          <a:xfrm>
            <a:off x="5188273" y="1684887"/>
            <a:ext cx="5869807" cy="567066"/>
            <a:chOff x="2841377" y="29362"/>
            <a:chExt cx="1976169" cy="1058756"/>
          </a:xfrm>
        </p:grpSpPr>
        <p:sp>
          <p:nvSpPr>
            <p:cNvPr id="16" name="Rectángulo redondeado 15"/>
            <p:cNvSpPr/>
            <p:nvPr/>
          </p:nvSpPr>
          <p:spPr>
            <a:xfrm>
              <a:off x="2841377" y="100034"/>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ectángulo 16"/>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sp>
        <p:nvSpPr>
          <p:cNvPr id="18" name="CuadroTexto 17"/>
          <p:cNvSpPr txBox="1"/>
          <p:nvPr/>
        </p:nvSpPr>
        <p:spPr>
          <a:xfrm>
            <a:off x="5404483" y="1815346"/>
            <a:ext cx="2454198" cy="307777"/>
          </a:xfrm>
          <a:prstGeom prst="rect">
            <a:avLst/>
          </a:prstGeom>
          <a:noFill/>
        </p:spPr>
        <p:txBody>
          <a:bodyPr wrap="none" lIns="0" tIns="0" rIns="0" bIns="0" rtlCol="0">
            <a:spAutoFit/>
          </a:bodyPr>
          <a:lstStyle/>
          <a:p>
            <a:r>
              <a:rPr lang="es-CL" sz="2000" dirty="0" smtClean="0">
                <a:solidFill>
                  <a:schemeClr val="bg1"/>
                </a:solidFill>
                <a:latin typeface="Arial" pitchFamily="34" charset="0"/>
                <a:cs typeface="Arial" pitchFamily="34" charset="0"/>
              </a:rPr>
              <a:t>Necesidades Básicas</a:t>
            </a:r>
          </a:p>
        </p:txBody>
      </p:sp>
      <p:grpSp>
        <p:nvGrpSpPr>
          <p:cNvPr id="19" name="Grupo 18"/>
          <p:cNvGrpSpPr/>
          <p:nvPr/>
        </p:nvGrpSpPr>
        <p:grpSpPr>
          <a:xfrm>
            <a:off x="5188273" y="2279513"/>
            <a:ext cx="5869807" cy="567066"/>
            <a:chOff x="2841377" y="29362"/>
            <a:chExt cx="1976169" cy="1058756"/>
          </a:xfrm>
        </p:grpSpPr>
        <p:sp>
          <p:nvSpPr>
            <p:cNvPr id="20" name="Rectángulo redondeado 19"/>
            <p:cNvSpPr/>
            <p:nvPr/>
          </p:nvSpPr>
          <p:spPr>
            <a:xfrm>
              <a:off x="2841377" y="100034"/>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Rectángulo 20"/>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grpSp>
        <p:nvGrpSpPr>
          <p:cNvPr id="22" name="Grupo 21"/>
          <p:cNvGrpSpPr/>
          <p:nvPr/>
        </p:nvGrpSpPr>
        <p:grpSpPr>
          <a:xfrm>
            <a:off x="5188273" y="2911991"/>
            <a:ext cx="5869807" cy="567066"/>
            <a:chOff x="2841377" y="29362"/>
            <a:chExt cx="1976169" cy="1058756"/>
          </a:xfrm>
        </p:grpSpPr>
        <p:sp>
          <p:nvSpPr>
            <p:cNvPr id="23" name="Rectángulo redondeado 22"/>
            <p:cNvSpPr/>
            <p:nvPr/>
          </p:nvSpPr>
          <p:spPr>
            <a:xfrm>
              <a:off x="2841377" y="100034"/>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4" name="Rectángulo 23"/>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sp>
        <p:nvSpPr>
          <p:cNvPr id="25" name="CuadroTexto 24"/>
          <p:cNvSpPr txBox="1"/>
          <p:nvPr/>
        </p:nvSpPr>
        <p:spPr>
          <a:xfrm flipH="1">
            <a:off x="5404481" y="2394536"/>
            <a:ext cx="3463072" cy="307777"/>
          </a:xfrm>
          <a:prstGeom prst="rect">
            <a:avLst/>
          </a:prstGeom>
          <a:noFill/>
        </p:spPr>
        <p:txBody>
          <a:bodyPr wrap="square" lIns="0" tIns="0" rIns="0" bIns="0" rtlCol="0">
            <a:spAutoFit/>
          </a:bodyPr>
          <a:lstStyle/>
          <a:p>
            <a:r>
              <a:rPr lang="es-CL" sz="2000" dirty="0" smtClean="0">
                <a:solidFill>
                  <a:schemeClr val="bg1"/>
                </a:solidFill>
                <a:latin typeface="Arial" pitchFamily="34" charset="0"/>
                <a:cs typeface="Arial" pitchFamily="34" charset="0"/>
              </a:rPr>
              <a:t>Acompañamiento voluntario </a:t>
            </a:r>
            <a:endParaRPr lang="es-CL" sz="2000" dirty="0">
              <a:solidFill>
                <a:schemeClr val="bg1"/>
              </a:solidFill>
              <a:latin typeface="Arial" pitchFamily="34" charset="0"/>
              <a:cs typeface="Arial" pitchFamily="34" charset="0"/>
            </a:endParaRPr>
          </a:p>
        </p:txBody>
      </p:sp>
      <p:sp>
        <p:nvSpPr>
          <p:cNvPr id="26" name="CuadroTexto 25"/>
          <p:cNvSpPr txBox="1"/>
          <p:nvPr/>
        </p:nvSpPr>
        <p:spPr>
          <a:xfrm>
            <a:off x="5404480" y="3026025"/>
            <a:ext cx="2559306" cy="307777"/>
          </a:xfrm>
          <a:prstGeom prst="rect">
            <a:avLst/>
          </a:prstGeom>
          <a:noFill/>
        </p:spPr>
        <p:txBody>
          <a:bodyPr wrap="square" lIns="0" tIns="0" rIns="0" bIns="0" rtlCol="0">
            <a:spAutoFit/>
          </a:bodyPr>
          <a:lstStyle/>
          <a:p>
            <a:r>
              <a:rPr lang="es-CL" sz="2000" dirty="0" smtClean="0">
                <a:solidFill>
                  <a:schemeClr val="bg1"/>
                </a:solidFill>
                <a:latin typeface="Arial" pitchFamily="34" charset="0"/>
                <a:cs typeface="Arial" pitchFamily="34" charset="0"/>
              </a:rPr>
              <a:t>Escucha activa</a:t>
            </a:r>
            <a:endParaRPr lang="es-CL" sz="2000" dirty="0">
              <a:solidFill>
                <a:schemeClr val="bg1"/>
              </a:solidFill>
              <a:latin typeface="Arial" pitchFamily="34" charset="0"/>
              <a:cs typeface="Arial" pitchFamily="34" charset="0"/>
            </a:endParaRPr>
          </a:p>
        </p:txBody>
      </p:sp>
      <p:grpSp>
        <p:nvGrpSpPr>
          <p:cNvPr id="27" name="Grupo 26"/>
          <p:cNvGrpSpPr/>
          <p:nvPr/>
        </p:nvGrpSpPr>
        <p:grpSpPr>
          <a:xfrm>
            <a:off x="5188273" y="3518093"/>
            <a:ext cx="5869807" cy="567066"/>
            <a:chOff x="2841377" y="29362"/>
            <a:chExt cx="1976169" cy="1058756"/>
          </a:xfrm>
        </p:grpSpPr>
        <p:sp>
          <p:nvSpPr>
            <p:cNvPr id="28" name="Rectángulo redondeado 27"/>
            <p:cNvSpPr/>
            <p:nvPr/>
          </p:nvSpPr>
          <p:spPr>
            <a:xfrm>
              <a:off x="2841377" y="100034"/>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9" name="Rectángulo 28"/>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sp>
        <p:nvSpPr>
          <p:cNvPr id="30" name="CuadroTexto 29"/>
          <p:cNvSpPr txBox="1"/>
          <p:nvPr/>
        </p:nvSpPr>
        <p:spPr>
          <a:xfrm>
            <a:off x="5404483" y="3648552"/>
            <a:ext cx="1891736" cy="307777"/>
          </a:xfrm>
          <a:prstGeom prst="rect">
            <a:avLst/>
          </a:prstGeom>
          <a:noFill/>
        </p:spPr>
        <p:txBody>
          <a:bodyPr wrap="none" lIns="0" tIns="0" rIns="0" bIns="0" rtlCol="0">
            <a:spAutoFit/>
          </a:bodyPr>
          <a:lstStyle/>
          <a:p>
            <a:r>
              <a:rPr lang="es-CL" sz="2000" dirty="0" smtClean="0">
                <a:solidFill>
                  <a:schemeClr val="bg1"/>
                </a:solidFill>
                <a:latin typeface="Arial" pitchFamily="34" charset="0"/>
                <a:cs typeface="Arial" pitchFamily="34" charset="0"/>
              </a:rPr>
              <a:t>Validar emoción </a:t>
            </a:r>
          </a:p>
        </p:txBody>
      </p:sp>
      <p:grpSp>
        <p:nvGrpSpPr>
          <p:cNvPr id="31" name="Grupo 30"/>
          <p:cNvGrpSpPr/>
          <p:nvPr/>
        </p:nvGrpSpPr>
        <p:grpSpPr>
          <a:xfrm>
            <a:off x="5188273" y="4112719"/>
            <a:ext cx="5869807" cy="567066"/>
            <a:chOff x="2841377" y="29362"/>
            <a:chExt cx="1976169" cy="1058756"/>
          </a:xfrm>
        </p:grpSpPr>
        <p:sp>
          <p:nvSpPr>
            <p:cNvPr id="32" name="Rectángulo redondeado 31"/>
            <p:cNvSpPr/>
            <p:nvPr/>
          </p:nvSpPr>
          <p:spPr>
            <a:xfrm>
              <a:off x="2841377" y="100034"/>
              <a:ext cx="1976169" cy="988084"/>
            </a:xfrm>
            <a:prstGeom prst="roundRect">
              <a:avLst>
                <a:gd name="adj" fmla="val 10000"/>
              </a:avLst>
            </a:prstGeom>
            <a:solidFill>
              <a:srgbClr val="004A5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3" name="Rectángulo 32"/>
            <p:cNvSpPr/>
            <p:nvPr/>
          </p:nvSpPr>
          <p:spPr>
            <a:xfrm>
              <a:off x="2870317" y="29362"/>
              <a:ext cx="1918289" cy="93020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endParaRPr lang="es-ES" sz="2400" kern="1200" dirty="0">
                <a:latin typeface="Arial" panose="020B0604020202020204" pitchFamily="34" charset="0"/>
                <a:cs typeface="Arial" panose="020B0604020202020204" pitchFamily="34" charset="0"/>
              </a:endParaRPr>
            </a:p>
          </p:txBody>
        </p:sp>
      </p:grpSp>
      <p:sp>
        <p:nvSpPr>
          <p:cNvPr id="34" name="CuadroTexto 33"/>
          <p:cNvSpPr txBox="1"/>
          <p:nvPr/>
        </p:nvSpPr>
        <p:spPr>
          <a:xfrm flipH="1">
            <a:off x="5404481" y="4227742"/>
            <a:ext cx="3463072" cy="307777"/>
          </a:xfrm>
          <a:prstGeom prst="rect">
            <a:avLst/>
          </a:prstGeom>
          <a:noFill/>
        </p:spPr>
        <p:txBody>
          <a:bodyPr wrap="square" lIns="0" tIns="0" rIns="0" bIns="0" rtlCol="0">
            <a:spAutoFit/>
          </a:bodyPr>
          <a:lstStyle/>
          <a:p>
            <a:r>
              <a:rPr lang="es-CL" sz="2000" dirty="0" smtClean="0">
                <a:solidFill>
                  <a:schemeClr val="bg1"/>
                </a:solidFill>
                <a:latin typeface="Arial" pitchFamily="34" charset="0"/>
                <a:cs typeface="Arial" pitchFamily="34" charset="0"/>
              </a:rPr>
              <a:t>Técnica espejo </a:t>
            </a:r>
            <a:endParaRPr lang="es-CL" sz="2000" dirty="0">
              <a:solidFill>
                <a:schemeClr val="bg1"/>
              </a:solidFill>
              <a:latin typeface="Arial" pitchFamily="34" charset="0"/>
              <a:cs typeface="Arial" pitchFamily="34" charset="0"/>
            </a:endParaRPr>
          </a:p>
        </p:txBody>
      </p:sp>
      <p:sp>
        <p:nvSpPr>
          <p:cNvPr id="35" name="CuadroTexto 34"/>
          <p:cNvSpPr txBox="1"/>
          <p:nvPr/>
        </p:nvSpPr>
        <p:spPr>
          <a:xfrm>
            <a:off x="5404480" y="4859231"/>
            <a:ext cx="2559306" cy="307777"/>
          </a:xfrm>
          <a:prstGeom prst="rect">
            <a:avLst/>
          </a:prstGeom>
          <a:noFill/>
        </p:spPr>
        <p:txBody>
          <a:bodyPr wrap="square" lIns="0" tIns="0" rIns="0" bIns="0" rtlCol="0">
            <a:spAutoFit/>
          </a:bodyPr>
          <a:lstStyle/>
          <a:p>
            <a:r>
              <a:rPr lang="es-CL" sz="2000" dirty="0" smtClean="0">
                <a:solidFill>
                  <a:schemeClr val="bg1"/>
                </a:solidFill>
                <a:latin typeface="Arial" pitchFamily="34" charset="0"/>
                <a:cs typeface="Arial" pitchFamily="34" charset="0"/>
              </a:rPr>
              <a:t>Técnicas respiración </a:t>
            </a:r>
            <a:endParaRPr lang="es-CL" sz="2000" dirty="0">
              <a:solidFill>
                <a:schemeClr val="bg1"/>
              </a:solidFill>
              <a:latin typeface="Arial" pitchFamily="34" charset="0"/>
              <a:cs typeface="Arial" pitchFamily="34" charset="0"/>
            </a:endParaRPr>
          </a:p>
        </p:txBody>
      </p:sp>
      <p:sp>
        <p:nvSpPr>
          <p:cNvPr id="38" name="Rectángulo 37"/>
          <p:cNvSpPr/>
          <p:nvPr/>
        </p:nvSpPr>
        <p:spPr>
          <a:xfrm>
            <a:off x="291302" y="6294476"/>
            <a:ext cx="11346970" cy="461665"/>
          </a:xfrm>
          <a:prstGeom prst="rect">
            <a:avLst/>
          </a:prstGeom>
        </p:spPr>
        <p:txBody>
          <a:bodyPr wrap="square">
            <a:spAutoFit/>
          </a:bodyPr>
          <a:lstStyle/>
          <a:p>
            <a:pPr lvl="0"/>
            <a:r>
              <a:rPr lang="es-CL" sz="1200" dirty="0"/>
              <a:t>Manual ABCDE para la aplicación de primeros auxilios psicológicos, en crisis individuales y colectivas del Centro Nacional de Investigación para la Gestión Integrada de Desastres Naturales (CIGIDEN). </a:t>
            </a:r>
          </a:p>
        </p:txBody>
      </p:sp>
      <p:pic>
        <p:nvPicPr>
          <p:cNvPr id="40" name="Imagen 39"/>
          <p:cNvPicPr>
            <a:picLocks noChangeAspect="1"/>
          </p:cNvPicPr>
          <p:nvPr/>
        </p:nvPicPr>
        <p:blipFill>
          <a:blip r:embed="rId9"/>
          <a:stretch>
            <a:fillRect/>
          </a:stretch>
        </p:blipFill>
        <p:spPr>
          <a:xfrm>
            <a:off x="10972119" y="424609"/>
            <a:ext cx="646232" cy="652329"/>
          </a:xfrm>
          <a:prstGeom prst="rect">
            <a:avLst/>
          </a:prstGeom>
        </p:spPr>
      </p:pic>
      <p:sp>
        <p:nvSpPr>
          <p:cNvPr id="41" name="Rectángulo redondeado 40"/>
          <p:cNvSpPr/>
          <p:nvPr/>
        </p:nvSpPr>
        <p:spPr>
          <a:xfrm>
            <a:off x="1549940" y="2956364"/>
            <a:ext cx="2062716" cy="999965"/>
          </a:xfrm>
          <a:prstGeom prst="roundRect">
            <a:avLst/>
          </a:prstGeom>
          <a:solidFill>
            <a:srgbClr val="911340"/>
          </a:solidFill>
          <a:ln w="6350">
            <a:solidFill>
              <a:srgbClr val="91134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s-CL" sz="1400" dirty="0" smtClean="0">
                <a:solidFill>
                  <a:schemeClr val="bg1"/>
                </a:solidFill>
                <a:latin typeface="Arial" pitchFamily="34" charset="0"/>
                <a:cs typeface="Arial" pitchFamily="34" charset="0"/>
              </a:rPr>
              <a:t>  </a:t>
            </a:r>
            <a:r>
              <a:rPr lang="es-CL" sz="1600" b="1" dirty="0" smtClean="0">
                <a:solidFill>
                  <a:schemeClr val="bg1"/>
                </a:solidFill>
                <a:latin typeface="Arial" pitchFamily="34" charset="0"/>
                <a:cs typeface="Arial" pitchFamily="34" charset="0"/>
              </a:rPr>
              <a:t>ME </a:t>
            </a:r>
            <a:r>
              <a:rPr lang="es-CL" sz="1600" b="1" dirty="0">
                <a:solidFill>
                  <a:schemeClr val="bg1"/>
                </a:solidFill>
                <a:latin typeface="Arial" pitchFamily="34" charset="0"/>
                <a:cs typeface="Arial" pitchFamily="34" charset="0"/>
              </a:rPr>
              <a:t>SIENTO APTO </a:t>
            </a:r>
          </a:p>
        </p:txBody>
      </p:sp>
    </p:spTree>
    <p:extLst>
      <p:ext uri="{BB962C8B-B14F-4D97-AF65-F5344CB8AC3E}">
        <p14:creationId xmlns:p14="http://schemas.microsoft.com/office/powerpoint/2010/main" val="286725655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261702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80" name="Diapositiva de think-cell" r:id="rId5" imgW="415" imgH="416" progId="TCLayout.ActiveDocument.1">
                  <p:embed/>
                </p:oleObj>
              </mc:Choice>
              <mc:Fallback>
                <p:oleObj name="Diapositiva d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 xmlns:a16="http://schemas.microsoft.com/office/drawing/2014/main" id="{003398C7-B8F6-F04B-8321-FACE4046CAF8}"/>
              </a:ext>
            </a:extLst>
          </p:cNvPr>
          <p:cNvSpPr/>
          <p:nvPr/>
        </p:nvSpPr>
        <p:spPr>
          <a:xfrm>
            <a:off x="827309" y="3871704"/>
            <a:ext cx="5520329" cy="454786"/>
          </a:xfrm>
          <a:prstGeom prst="rect">
            <a:avLst/>
          </a:prstGeom>
          <a:solidFill>
            <a:srgbClr val="8A004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s-CL" sz="1400" dirty="0">
              <a:solidFill>
                <a:srgbClr val="FFFFFF"/>
              </a:solidFill>
              <a:latin typeface="Arial"/>
              <a:cs typeface="Arial" pitchFamily="34" charset="0"/>
            </a:endParaRPr>
          </a:p>
        </p:txBody>
      </p:sp>
      <p:sp>
        <p:nvSpPr>
          <p:cNvPr id="2" name="Título 1">
            <a:extLst>
              <a:ext uri="{FF2B5EF4-FFF2-40B4-BE49-F238E27FC236}">
                <a16:creationId xmlns="" xmlns:a16="http://schemas.microsoft.com/office/drawing/2014/main" id="{9869A9F5-16E8-7640-AA79-54B0B071697F}"/>
              </a:ext>
            </a:extLst>
          </p:cNvPr>
          <p:cNvSpPr>
            <a:spLocks noGrp="1"/>
          </p:cNvSpPr>
          <p:nvPr>
            <p:ph type="title"/>
          </p:nvPr>
        </p:nvSpPr>
        <p:spPr>
          <a:xfrm>
            <a:off x="496504" y="327051"/>
            <a:ext cx="8800070" cy="1325563"/>
          </a:xfrm>
        </p:spPr>
        <p:txBody>
          <a:bodyPr>
            <a:normAutofit/>
          </a:bodyPr>
          <a:lstStyle/>
          <a:p>
            <a:r>
              <a:rPr lang="es-CL" sz="2400" dirty="0"/>
              <a:t>Agenda</a:t>
            </a:r>
          </a:p>
        </p:txBody>
      </p:sp>
      <p:sp>
        <p:nvSpPr>
          <p:cNvPr id="3" name="Marcador de contenido 2">
            <a:extLst>
              <a:ext uri="{FF2B5EF4-FFF2-40B4-BE49-F238E27FC236}">
                <a16:creationId xmlns="" xmlns:a16="http://schemas.microsoft.com/office/drawing/2014/main" id="{E7471159-2E44-9C49-95A9-026762FB0EF5}"/>
              </a:ext>
            </a:extLst>
          </p:cNvPr>
          <p:cNvSpPr>
            <a:spLocks noGrp="1"/>
          </p:cNvSpPr>
          <p:nvPr>
            <p:ph idx="1"/>
          </p:nvPr>
        </p:nvSpPr>
        <p:spPr>
          <a:xfrm>
            <a:off x="587375" y="2147776"/>
            <a:ext cx="11017250" cy="4208573"/>
          </a:xfrm>
        </p:spPr>
        <p:txBody>
          <a:bodyPr>
            <a:normAutofit/>
          </a:bodyPr>
          <a:lstStyle/>
          <a:p>
            <a:pPr lvl="0"/>
            <a:r>
              <a:rPr lang="es-CL" altLang="es-CL" sz="2400" dirty="0">
                <a:solidFill>
                  <a:schemeClr val="bg1">
                    <a:lumMod val="85000"/>
                  </a:schemeClr>
                </a:solidFill>
              </a:rPr>
              <a:t>Liderazgo y comunicación en crisis</a:t>
            </a:r>
          </a:p>
          <a:p>
            <a:pPr lvl="0"/>
            <a:endParaRPr lang="es-CL" altLang="es-CL" dirty="0" smtClean="0"/>
          </a:p>
          <a:p>
            <a:pPr marL="0" indent="0">
              <a:buNone/>
            </a:pPr>
            <a:r>
              <a:rPr lang="es-CL" altLang="es-CL" sz="2400" dirty="0" smtClean="0">
                <a:solidFill>
                  <a:schemeClr val="bg1"/>
                </a:solidFill>
              </a:rPr>
              <a:t>Variables a considerar en el entorno</a:t>
            </a:r>
          </a:p>
          <a:p>
            <a:pPr marL="0" indent="0">
              <a:buNone/>
            </a:pPr>
            <a:endParaRPr lang="es-CL" altLang="es-CL" sz="2400" dirty="0">
              <a:solidFill>
                <a:schemeClr val="bg1">
                  <a:lumMod val="85000"/>
                </a:schemeClr>
              </a:solidFill>
            </a:endParaRPr>
          </a:p>
          <a:p>
            <a:r>
              <a:rPr lang="es-CL" altLang="es-CL" sz="2400" dirty="0" smtClean="0">
                <a:solidFill>
                  <a:schemeClr val="bg1"/>
                </a:solidFill>
              </a:rPr>
              <a:t>Estrategias de afrontamiento en crisis</a:t>
            </a:r>
          </a:p>
          <a:p>
            <a:pPr marL="0" lvl="0" indent="0">
              <a:buNone/>
            </a:pPr>
            <a:endParaRPr lang="en-US" dirty="0">
              <a:solidFill>
                <a:schemeClr val="bg1">
                  <a:lumMod val="85000"/>
                </a:schemeClr>
              </a:solidFill>
            </a:endParaRPr>
          </a:p>
        </p:txBody>
      </p:sp>
      <p:pic>
        <p:nvPicPr>
          <p:cNvPr id="4" name="Imagen 3"/>
          <p:cNvPicPr>
            <a:picLocks noChangeAspect="1"/>
          </p:cNvPicPr>
          <p:nvPr/>
        </p:nvPicPr>
        <p:blipFill>
          <a:blip r:embed="rId7"/>
          <a:stretch>
            <a:fillRect/>
          </a:stretch>
        </p:blipFill>
        <p:spPr>
          <a:xfrm>
            <a:off x="10969026" y="441325"/>
            <a:ext cx="646232" cy="652329"/>
          </a:xfrm>
          <a:prstGeom prst="rect">
            <a:avLst/>
          </a:prstGeom>
        </p:spPr>
      </p:pic>
    </p:spTree>
    <p:extLst>
      <p:ext uri="{BB962C8B-B14F-4D97-AF65-F5344CB8AC3E}">
        <p14:creationId xmlns:p14="http://schemas.microsoft.com/office/powerpoint/2010/main" val="13018217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3145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5"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ángulo 7" hidden="1"/>
          <p:cNvSpPr/>
          <p:nvPr>
            <p:custDataLst>
              <p:tags r:id="rId3"/>
            </p:custDataLst>
          </p:nvPr>
        </p:nvSpPr>
        <p:spPr>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9869A9F5-16E8-7640-AA79-54B0B071697F}"/>
              </a:ext>
            </a:extLst>
          </p:cNvPr>
          <p:cNvSpPr>
            <a:spLocks noGrp="1"/>
          </p:cNvSpPr>
          <p:nvPr>
            <p:ph type="title"/>
          </p:nvPr>
        </p:nvSpPr>
        <p:spPr>
          <a:xfrm>
            <a:off x="475236" y="327312"/>
            <a:ext cx="11932959" cy="1325563"/>
          </a:xfrm>
        </p:spPr>
        <p:txBody>
          <a:bodyPr>
            <a:normAutofit/>
          </a:bodyPr>
          <a:lstStyle/>
          <a:p>
            <a:r>
              <a:rPr lang="es-ES" sz="2300" dirty="0"/>
              <a:t>Estrategias de Afrontamiento centrados en los </a:t>
            </a:r>
            <a:r>
              <a:rPr lang="es-ES" sz="2300" dirty="0" smtClean="0"/>
              <a:t>problemas</a:t>
            </a:r>
            <a:r>
              <a:rPr lang="es-ES" sz="2800" dirty="0"/>
              <a:t/>
            </a:r>
            <a:br>
              <a:rPr lang="es-ES" sz="2800" dirty="0"/>
            </a:br>
            <a:r>
              <a:rPr lang="es-ES" altLang="es-CL" sz="2000" b="0" dirty="0">
                <a:solidFill>
                  <a:srgbClr val="8A004A"/>
                </a:solidFill>
              </a:rPr>
              <a:t>Anticipación y planeación</a:t>
            </a:r>
            <a:endParaRPr lang="es-CL" altLang="es-CL" sz="2000" b="0" dirty="0">
              <a:solidFill>
                <a:srgbClr val="8A004A"/>
              </a:solidFill>
            </a:endParaRPr>
          </a:p>
        </p:txBody>
      </p:sp>
      <p:pic>
        <p:nvPicPr>
          <p:cNvPr id="4" name="Imagen 3"/>
          <p:cNvPicPr>
            <a:picLocks noChangeAspect="1"/>
          </p:cNvPicPr>
          <p:nvPr/>
        </p:nvPicPr>
        <p:blipFill>
          <a:blip r:embed="rId8"/>
          <a:stretch>
            <a:fillRect/>
          </a:stretch>
        </p:blipFill>
        <p:spPr>
          <a:xfrm>
            <a:off x="10969026" y="441325"/>
            <a:ext cx="646232" cy="652329"/>
          </a:xfrm>
          <a:prstGeom prst="rect">
            <a:avLst/>
          </a:prstGeom>
        </p:spPr>
      </p:pic>
      <p:grpSp>
        <p:nvGrpSpPr>
          <p:cNvPr id="11" name="Grupo 10"/>
          <p:cNvGrpSpPr/>
          <p:nvPr/>
        </p:nvGrpSpPr>
        <p:grpSpPr>
          <a:xfrm>
            <a:off x="1534939" y="2660232"/>
            <a:ext cx="8945079" cy="4063887"/>
            <a:chOff x="632881" y="1747633"/>
            <a:chExt cx="8945079" cy="4063887"/>
          </a:xfrm>
        </p:grpSpPr>
        <p:sp>
          <p:nvSpPr>
            <p:cNvPr id="12" name="Rectángulo 11"/>
            <p:cNvSpPr/>
            <p:nvPr/>
          </p:nvSpPr>
          <p:spPr>
            <a:xfrm>
              <a:off x="632881" y="1747633"/>
              <a:ext cx="2882899" cy="110977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s-CL" sz="1400" dirty="0">
                <a:latin typeface="Arial" pitchFamily="34" charset="0"/>
                <a:cs typeface="Arial" pitchFamily="34" charset="0"/>
              </a:endParaRPr>
            </a:p>
          </p:txBody>
        </p:sp>
        <p:sp>
          <p:nvSpPr>
            <p:cNvPr id="16" name="Rectángulo 7">
              <a:extLst>
                <a:ext uri="{FF2B5EF4-FFF2-40B4-BE49-F238E27FC236}">
                  <a16:creationId xmlns:a16="http://schemas.microsoft.com/office/drawing/2014/main" xmlns="" id="{8DAF2778-C707-41B6-8979-5DCBE558D347}"/>
                </a:ext>
              </a:extLst>
            </p:cNvPr>
            <p:cNvSpPr/>
            <p:nvPr/>
          </p:nvSpPr>
          <p:spPr>
            <a:xfrm>
              <a:off x="6476742" y="1747633"/>
              <a:ext cx="3101218" cy="406388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s-CL" sz="1400">
                <a:solidFill>
                  <a:schemeClr val="tx1">
                    <a:lumMod val="85000"/>
                    <a:lumOff val="15000"/>
                  </a:schemeClr>
                </a:solidFill>
                <a:latin typeface="Arial" pitchFamily="34" charset="0"/>
                <a:cs typeface="Arial" pitchFamily="34" charset="0"/>
              </a:endParaRPr>
            </a:p>
          </p:txBody>
        </p:sp>
      </p:grpSp>
      <p:pic>
        <p:nvPicPr>
          <p:cNvPr id="18" name="Imagen 17"/>
          <p:cNvPicPr>
            <a:picLocks noChangeAspect="1"/>
          </p:cNvPicPr>
          <p:nvPr/>
        </p:nvPicPr>
        <p:blipFill>
          <a:blip r:embed="rId9"/>
          <a:stretch>
            <a:fillRect/>
          </a:stretch>
        </p:blipFill>
        <p:spPr>
          <a:xfrm>
            <a:off x="4798635" y="1943166"/>
            <a:ext cx="2799152" cy="4250805"/>
          </a:xfrm>
          <a:prstGeom prst="rect">
            <a:avLst/>
          </a:prstGeom>
        </p:spPr>
      </p:pic>
      <p:sp>
        <p:nvSpPr>
          <p:cNvPr id="17" name="CuadroTexto 16"/>
          <p:cNvSpPr txBox="1"/>
          <p:nvPr/>
        </p:nvSpPr>
        <p:spPr>
          <a:xfrm flipH="1">
            <a:off x="838051" y="1863346"/>
            <a:ext cx="3710616" cy="3323987"/>
          </a:xfrm>
          <a:prstGeom prst="rect">
            <a:avLst/>
          </a:prstGeom>
          <a:noFill/>
        </p:spPr>
        <p:txBody>
          <a:bodyPr wrap="square" lIns="0" tIns="0" rIns="0" bIns="0" rtlCol="0">
            <a:spAutoFit/>
          </a:bodyPr>
          <a:lstStyle/>
          <a:p>
            <a:pPr marL="571500" indent="-571500">
              <a:lnSpc>
                <a:spcPct val="150000"/>
              </a:lnSpc>
              <a:buClr>
                <a:srgbClr val="911340"/>
              </a:buClr>
              <a:buFont typeface="Wingdings" panose="05000000000000000000" pitchFamily="2" charset="2"/>
              <a:buChar char="ü"/>
            </a:pPr>
            <a:r>
              <a:rPr lang="es-ES" b="1" dirty="0" smtClean="0">
                <a:solidFill>
                  <a:srgbClr val="004A51"/>
                </a:solidFill>
                <a:latin typeface="Arial" panose="020B0604020202020204" pitchFamily="34" charset="0"/>
                <a:cs typeface="Arial" panose="020B0604020202020204" pitchFamily="34" charset="0"/>
              </a:rPr>
              <a:t>Información</a:t>
            </a:r>
          </a:p>
          <a:p>
            <a:pPr algn="just">
              <a:lnSpc>
                <a:spcPct val="150000"/>
              </a:lnSpc>
              <a:buClr>
                <a:srgbClr val="911340"/>
              </a:buClr>
            </a:pPr>
            <a:endParaRPr lang="es-ES" b="1" dirty="0" smtClean="0">
              <a:solidFill>
                <a:srgbClr val="004A51"/>
              </a:solidFill>
              <a:latin typeface="Arial" panose="020B0604020202020204" pitchFamily="34" charset="0"/>
              <a:cs typeface="Arial" panose="020B0604020202020204" pitchFamily="34" charset="0"/>
            </a:endParaRPr>
          </a:p>
          <a:p>
            <a:pPr marL="571500" indent="-571500" algn="just">
              <a:lnSpc>
                <a:spcPct val="150000"/>
              </a:lnSpc>
              <a:buClr>
                <a:srgbClr val="911340"/>
              </a:buClr>
              <a:buFont typeface="Wingdings" panose="05000000000000000000" pitchFamily="2" charset="2"/>
              <a:buChar char="ü"/>
            </a:pPr>
            <a:r>
              <a:rPr lang="es-ES" b="1" dirty="0" smtClean="0">
                <a:solidFill>
                  <a:srgbClr val="004A51"/>
                </a:solidFill>
                <a:latin typeface="Arial" panose="020B0604020202020204" pitchFamily="34" charset="0"/>
                <a:cs typeface="Arial" panose="020B0604020202020204" pitchFamily="34" charset="0"/>
              </a:rPr>
              <a:t>Alimentación/ejercicio</a:t>
            </a:r>
          </a:p>
          <a:p>
            <a:pPr marL="571500" indent="-571500" algn="just">
              <a:lnSpc>
                <a:spcPct val="150000"/>
              </a:lnSpc>
              <a:buClr>
                <a:srgbClr val="911340"/>
              </a:buClr>
              <a:buFont typeface="Wingdings" panose="05000000000000000000" pitchFamily="2" charset="2"/>
              <a:buChar char="ü"/>
            </a:pPr>
            <a:endParaRPr lang="es-ES" b="1" dirty="0">
              <a:solidFill>
                <a:srgbClr val="004A51"/>
              </a:solidFill>
              <a:latin typeface="Arial" panose="020B0604020202020204" pitchFamily="34" charset="0"/>
              <a:cs typeface="Arial" panose="020B0604020202020204" pitchFamily="34" charset="0"/>
            </a:endParaRPr>
          </a:p>
          <a:p>
            <a:pPr marL="571500" indent="-571500" algn="just">
              <a:lnSpc>
                <a:spcPct val="150000"/>
              </a:lnSpc>
              <a:buClr>
                <a:srgbClr val="911340"/>
              </a:buClr>
              <a:buFont typeface="Wingdings" panose="05000000000000000000" pitchFamily="2" charset="2"/>
              <a:buChar char="ü"/>
            </a:pPr>
            <a:r>
              <a:rPr lang="es-ES" b="1" dirty="0" smtClean="0">
                <a:solidFill>
                  <a:srgbClr val="004A51"/>
                </a:solidFill>
                <a:latin typeface="Arial" panose="020B0604020202020204" pitchFamily="34" charset="0"/>
                <a:cs typeface="Arial" panose="020B0604020202020204" pitchFamily="34" charset="0"/>
              </a:rPr>
              <a:t>Dormir</a:t>
            </a:r>
          </a:p>
          <a:p>
            <a:pPr marL="571500" indent="-571500" algn="just">
              <a:lnSpc>
                <a:spcPct val="150000"/>
              </a:lnSpc>
              <a:buClr>
                <a:srgbClr val="911340"/>
              </a:buClr>
              <a:buFont typeface="Wingdings" panose="05000000000000000000" pitchFamily="2" charset="2"/>
              <a:buChar char="ü"/>
            </a:pPr>
            <a:endParaRPr lang="es-ES" b="1" dirty="0">
              <a:solidFill>
                <a:srgbClr val="004A51"/>
              </a:solidFill>
              <a:latin typeface="Arial" panose="020B0604020202020204" pitchFamily="34" charset="0"/>
              <a:cs typeface="Arial" panose="020B0604020202020204" pitchFamily="34" charset="0"/>
            </a:endParaRPr>
          </a:p>
          <a:p>
            <a:pPr marL="571500" indent="-571500" algn="just">
              <a:lnSpc>
                <a:spcPct val="150000"/>
              </a:lnSpc>
              <a:buClr>
                <a:srgbClr val="911340"/>
              </a:buClr>
              <a:buFont typeface="Wingdings" panose="05000000000000000000" pitchFamily="2" charset="2"/>
              <a:buChar char="ü"/>
            </a:pPr>
            <a:r>
              <a:rPr lang="es-ES" b="1" dirty="0" smtClean="0">
                <a:solidFill>
                  <a:srgbClr val="004A51"/>
                </a:solidFill>
                <a:latin typeface="Arial" panose="020B0604020202020204" pitchFamily="34" charset="0"/>
                <a:cs typeface="Arial" panose="020B0604020202020204" pitchFamily="34" charset="0"/>
              </a:rPr>
              <a:t>Apoyo Social </a:t>
            </a:r>
          </a:p>
          <a:p>
            <a:pPr algn="just">
              <a:lnSpc>
                <a:spcPct val="150000"/>
              </a:lnSpc>
              <a:buClr>
                <a:srgbClr val="911340"/>
              </a:buClr>
            </a:pPr>
            <a:endParaRPr lang="es-ES" b="1" dirty="0" smtClean="0">
              <a:solidFill>
                <a:srgbClr val="004A5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05834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o 15" hidden="1"/>
          <p:cNvGraphicFramePr>
            <a:graphicFrameLocks noChangeAspect="1"/>
          </p:cNvGraphicFramePr>
          <p:nvPr>
            <p:custDataLst>
              <p:tags r:id="rId2"/>
            </p:custDataLst>
            <p:extLst>
              <p:ext uri="{D42A27DB-BD31-4B8C-83A1-F6EECF244321}">
                <p14:modId xmlns:p14="http://schemas.microsoft.com/office/powerpoint/2010/main" val="3519237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14" name="Diapositiva de think-cell" r:id="rId6" imgW="415" imgH="416" progId="TCLayout.ActiveDocument.1">
                  <p:embed/>
                </p:oleObj>
              </mc:Choice>
              <mc:Fallback>
                <p:oleObj name="Diapositiva de think-cell"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ángulo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solidFill>
                <a:prstClr val="white"/>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 xmlns:a16="http://schemas.microsoft.com/office/drawing/2014/main" id="{43E596C4-73B5-9C46-8898-E2A4FFC3AD7E}"/>
              </a:ext>
            </a:extLst>
          </p:cNvPr>
          <p:cNvSpPr>
            <a:spLocks noGrp="1"/>
          </p:cNvSpPr>
          <p:nvPr>
            <p:ph type="title"/>
          </p:nvPr>
        </p:nvSpPr>
        <p:spPr>
          <a:xfrm>
            <a:off x="465420" y="-164147"/>
            <a:ext cx="10803208" cy="955648"/>
          </a:xfrm>
        </p:spPr>
        <p:txBody>
          <a:bodyPr>
            <a:normAutofit fontScale="90000"/>
          </a:bodyPr>
          <a:lstStyle/>
          <a:p>
            <a:r>
              <a:rPr lang="es-CL" altLang="es-CL" sz="3100" dirty="0" smtClean="0"/>
              <a:t/>
            </a:r>
            <a:br>
              <a:rPr lang="es-CL" altLang="es-CL" sz="3100" dirty="0" smtClean="0"/>
            </a:br>
            <a:r>
              <a:rPr lang="es-ES" sz="2800" dirty="0"/>
              <a:t/>
            </a:r>
            <a:br>
              <a:rPr lang="es-ES" sz="2800" dirty="0"/>
            </a:br>
            <a:r>
              <a:rPr lang="es-ES" sz="3100" dirty="0" smtClean="0"/>
              <a:t/>
            </a:r>
            <a:br>
              <a:rPr lang="es-ES" sz="3100" dirty="0" smtClean="0"/>
            </a:br>
            <a:r>
              <a:rPr lang="es-ES" sz="2600" cap="all" dirty="0" smtClean="0"/>
              <a:t>conclusiones</a:t>
            </a:r>
            <a:r>
              <a:rPr lang="es-ES" altLang="es-CL" sz="3100" cap="all" dirty="0"/>
              <a:t/>
            </a:r>
            <a:br>
              <a:rPr lang="es-ES" altLang="es-CL" sz="3100" cap="all" dirty="0"/>
            </a:br>
            <a:r>
              <a:rPr lang="es-ES" sz="2200" b="0" cap="all" dirty="0">
                <a:solidFill>
                  <a:srgbClr val="8A004A"/>
                </a:solidFill>
              </a:rPr>
              <a:t/>
            </a:r>
            <a:br>
              <a:rPr lang="es-ES" sz="2200" b="0" cap="all" dirty="0">
                <a:solidFill>
                  <a:srgbClr val="8A004A"/>
                </a:solidFill>
              </a:rPr>
            </a:br>
            <a:endParaRPr lang="es-CL" altLang="es-CL" sz="2200" b="0" cap="all" dirty="0">
              <a:solidFill>
                <a:srgbClr val="8A004A"/>
              </a:solidFill>
            </a:endParaRPr>
          </a:p>
        </p:txBody>
      </p:sp>
      <p:sp>
        <p:nvSpPr>
          <p:cNvPr id="4" name="Rectángulo 3"/>
          <p:cNvSpPr/>
          <p:nvPr/>
        </p:nvSpPr>
        <p:spPr>
          <a:xfrm>
            <a:off x="1219200" y="2781170"/>
            <a:ext cx="4562764" cy="2439770"/>
          </a:xfrm>
          <a:prstGeom prst="rect">
            <a:avLst/>
          </a:prstGeom>
        </p:spPr>
        <p:txBody>
          <a:bodyPr wrap="square">
            <a:spAutoFit/>
          </a:bodyPr>
          <a:lstStyle/>
          <a:p>
            <a:pPr marL="571500" indent="-571500" algn="just">
              <a:lnSpc>
                <a:spcPct val="107000"/>
              </a:lnSpc>
              <a:buFont typeface="Wingdings" panose="05000000000000000000" pitchFamily="2" charset="2"/>
              <a:buChar char="§"/>
            </a:pPr>
            <a:r>
              <a:rPr lang="es-ES" sz="2800" dirty="0">
                <a:solidFill>
                  <a:srgbClr val="FFFFFF"/>
                </a:solidFill>
                <a:cs typeface="Calibri" panose="020F0502020204030204" pitchFamily="34" charset="0"/>
              </a:rPr>
              <a:t>Información</a:t>
            </a:r>
            <a:endParaRPr lang="es-CL" sz="2800" dirty="0">
              <a:solidFill>
                <a:srgbClr val="FFFFFF"/>
              </a:solidFill>
              <a:cs typeface="Calibri" panose="020F0502020204030204" pitchFamily="34" charset="0"/>
            </a:endParaRPr>
          </a:p>
          <a:p>
            <a:pPr marL="571500" indent="-571500" algn="just">
              <a:lnSpc>
                <a:spcPct val="107000"/>
              </a:lnSpc>
              <a:buFont typeface="Wingdings" panose="05000000000000000000" pitchFamily="2" charset="2"/>
              <a:buChar char="§"/>
            </a:pPr>
            <a:r>
              <a:rPr lang="es-ES" sz="2800" dirty="0">
                <a:solidFill>
                  <a:srgbClr val="FFFFFF"/>
                </a:solidFill>
                <a:cs typeface="Calibri" panose="020F0502020204030204" pitchFamily="34" charset="0"/>
              </a:rPr>
              <a:t>Alimentación</a:t>
            </a:r>
            <a:r>
              <a:rPr lang="es-CL" sz="2800" dirty="0">
                <a:solidFill>
                  <a:srgbClr val="FFFFFF"/>
                </a:solidFill>
                <a:cs typeface="Calibri" panose="020F0502020204030204" pitchFamily="34" charset="0"/>
              </a:rPr>
              <a:t> </a:t>
            </a:r>
          </a:p>
          <a:p>
            <a:pPr marL="571500" indent="-571500" algn="just">
              <a:lnSpc>
                <a:spcPct val="107000"/>
              </a:lnSpc>
              <a:spcAft>
                <a:spcPts val="800"/>
              </a:spcAft>
              <a:buFont typeface="Wingdings" panose="05000000000000000000" pitchFamily="2" charset="2"/>
              <a:buChar char="§"/>
            </a:pPr>
            <a:r>
              <a:rPr lang="es-ES" sz="2800" dirty="0">
                <a:solidFill>
                  <a:srgbClr val="FFFFFF"/>
                </a:solidFill>
                <a:cs typeface="Calibri" panose="020F0502020204030204" pitchFamily="34" charset="0"/>
              </a:rPr>
              <a:t>Ejercicio</a:t>
            </a:r>
            <a:r>
              <a:rPr lang="es-CL" sz="2800" dirty="0">
                <a:solidFill>
                  <a:srgbClr val="FFFFFF"/>
                </a:solidFill>
                <a:cs typeface="Calibri" panose="020F0502020204030204" pitchFamily="34" charset="0"/>
              </a:rPr>
              <a:t> </a:t>
            </a:r>
          </a:p>
          <a:p>
            <a:pPr marL="571500" indent="-571500" algn="just" fontAlgn="base">
              <a:buFont typeface="Wingdings" panose="05000000000000000000" pitchFamily="2" charset="2"/>
              <a:buChar char="§"/>
              <a:tabLst>
                <a:tab pos="457200" algn="l"/>
              </a:tabLst>
            </a:pPr>
            <a:r>
              <a:rPr lang="es-ES" sz="2800" dirty="0">
                <a:solidFill>
                  <a:srgbClr val="FFFFFF"/>
                </a:solidFill>
                <a:cs typeface="Calibri" panose="020F0502020204030204" pitchFamily="34" charset="0"/>
              </a:rPr>
              <a:t>Placer</a:t>
            </a:r>
          </a:p>
          <a:p>
            <a:pPr marL="571500" indent="-571500" algn="just" fontAlgn="base">
              <a:buFont typeface="Wingdings" panose="05000000000000000000" pitchFamily="2" charset="2"/>
              <a:buChar char="§"/>
              <a:tabLst>
                <a:tab pos="457200" algn="l"/>
              </a:tabLst>
            </a:pPr>
            <a:r>
              <a:rPr lang="es-ES" sz="2800" dirty="0">
                <a:solidFill>
                  <a:srgbClr val="FFFFFF"/>
                </a:solidFill>
                <a:cs typeface="Calibri" panose="020F0502020204030204" pitchFamily="34" charset="0"/>
              </a:rPr>
              <a:t>Dormir</a:t>
            </a:r>
            <a:endParaRPr lang="es-CL" sz="2800" dirty="0">
              <a:solidFill>
                <a:srgbClr val="FFFFFF"/>
              </a:solidFill>
              <a:cs typeface="Calibri" panose="020F0502020204030204" pitchFamily="34" charset="0"/>
            </a:endParaRPr>
          </a:p>
        </p:txBody>
      </p:sp>
      <p:pic>
        <p:nvPicPr>
          <p:cNvPr id="8" name="Imagen 7">
            <a:extLst>
              <a:ext uri="{FF2B5EF4-FFF2-40B4-BE49-F238E27FC236}">
                <a16:creationId xmlns:a16="http://schemas.microsoft.com/office/drawing/2014/main" xmlns="" id="{5D0C066E-AC30-4F2F-AE69-3D535BA2A39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72191" y="1068101"/>
            <a:ext cx="4203916" cy="5010407"/>
          </a:xfrm>
          <a:prstGeom prst="rect">
            <a:avLst/>
          </a:prstGeom>
        </p:spPr>
      </p:pic>
      <p:sp>
        <p:nvSpPr>
          <p:cNvPr id="3" name="Rectángulo 2"/>
          <p:cNvSpPr/>
          <p:nvPr/>
        </p:nvSpPr>
        <p:spPr>
          <a:xfrm>
            <a:off x="640151" y="6453188"/>
            <a:ext cx="1710725" cy="276999"/>
          </a:xfrm>
          <a:prstGeom prst="rect">
            <a:avLst/>
          </a:prstGeom>
        </p:spPr>
        <p:txBody>
          <a:bodyPr wrap="none">
            <a:spAutoFit/>
          </a:bodyPr>
          <a:lstStyle/>
          <a:p>
            <a:r>
              <a:rPr lang="es-ES" sz="1200" dirty="0">
                <a:solidFill>
                  <a:schemeClr val="bg1">
                    <a:lumMod val="95000"/>
                  </a:schemeClr>
                </a:solidFill>
                <a:latin typeface="Arial" panose="020B0604020202020204" pitchFamily="34" charset="0"/>
                <a:cs typeface="Arial" panose="020B0604020202020204" pitchFamily="34" charset="0"/>
              </a:rPr>
              <a:t>@</a:t>
            </a:r>
            <a:r>
              <a:rPr lang="es-ES" sz="1200" dirty="0" err="1">
                <a:solidFill>
                  <a:schemeClr val="bg1">
                    <a:lumMod val="95000"/>
                  </a:schemeClr>
                </a:solidFill>
                <a:latin typeface="Arial" panose="020B0604020202020204" pitchFamily="34" charset="0"/>
                <a:cs typeface="Arial" panose="020B0604020202020204" pitchFamily="34" charset="0"/>
              </a:rPr>
              <a:t>aleacostailustradora</a:t>
            </a:r>
            <a:endParaRPr lang="es-CL" sz="1200" dirty="0">
              <a:solidFill>
                <a:schemeClr val="bg1">
                  <a:lumMod val="9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2469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o6oaDMcn8I_40cQbEF1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ftbeY5KYdt1sHaXqopu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OsX18DvwUq0BRux9Gp7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UI1GaGnwEiuaX9O.4ZZ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0BKassE2Uam7sRfT6NM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lC2VMae028hW9S47dr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cUDAqGFa0yu0iAP67i7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DO3HTu2y0.lO2HDQeTF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8hkz8agukCx7XFAPN.m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WsEuKNhiQCR71O0x9F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UI1GaGnwEiuaX9O.4ZZ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0BKassE2Uam7sRfT6NM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lC2VMae028hW9S47dr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cUDAqGFa0yu0iAP67i70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DO3HTu2y0.lO2HDQeTF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8hkz8agukCx7XFAPN.m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NX31cF6Vk66VeFKRd7L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wPJN3gF_ibrrStzIbvk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uf97BcnoA_u4.dVgSq.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a31tT7WIQwPxu5YDNN4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M0qaWAhynLPn7kg0t7h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xDiOPQEnCa5KQRs8i9i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rZu0hfYx.eI6D6fPvuA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SdehafbJ.VQZc4emggn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xDiOPQEnCa5KQRs8i9i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y8wvvdSKDaJj7vGjuv14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5KAq5ZI4cWFMJnbM8yb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2lzp7pO.sgNWv.XQbBs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Mtjfe20ISgkz2OcgkKP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iwznRGNRSSpFU8uu5BA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ElwX5874szXnaGgAzv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rZu0hfYx.eI6D6fPvuA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SdehafbJ.VQZc4emggn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xDiOPQEnCa5KQRs8i9i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y8wvvdSKDaJj7vGjuv1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5KAq5ZI4cWFMJnbM8yb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2lzp7pO.sgNWv.XQbBsP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iwznRGNRSSpFU8uu5BAr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ElwX5874szXnaGgAzv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TPesgj.FRKKw6ILf_2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gtZee7WIOqMMRlozjdC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FpF.SgpJ1rRrJpi6DvM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C1XICvonN9U_3Ur2gF9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Q1M_SZmc07iIK6EdfQI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qaZoV6_6_v3EwIJbZr69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gtZee7WIOqMMRlozjdCDQ"/>
</p:tagLst>
</file>

<file path=ppt/theme/theme1.xml><?xml version="1.0" encoding="utf-8"?>
<a:theme xmlns:a="http://schemas.openxmlformats.org/drawingml/2006/main" name="1_20151203-PPT USO INTERNO ACHS">
  <a:themeElements>
    <a:clrScheme name="Personalizado 1">
      <a:dk1>
        <a:srgbClr val="000000"/>
      </a:dk1>
      <a:lt1>
        <a:srgbClr val="FFFFFF"/>
      </a:lt1>
      <a:dk2>
        <a:srgbClr val="000000"/>
      </a:dk2>
      <a:lt2>
        <a:srgbClr val="FFFFFF"/>
      </a:lt2>
      <a:accent1>
        <a:srgbClr val="80BD26"/>
      </a:accent1>
      <a:accent2>
        <a:srgbClr val="25823B"/>
      </a:accent2>
      <a:accent3>
        <a:srgbClr val="D8D8D8"/>
      </a:accent3>
      <a:accent4>
        <a:srgbClr val="FFFFFF"/>
      </a:accent4>
      <a:accent5>
        <a:srgbClr val="D8D8D8"/>
      </a:accent5>
      <a:accent6>
        <a:srgbClr val="FFC000"/>
      </a:accent6>
      <a:hlink>
        <a:srgbClr val="195A28"/>
      </a:hlink>
      <a:folHlink>
        <a:srgbClr val="FFC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95A28"/>
        </a:solidFill>
        <a:ln w="6350">
          <a:noFill/>
        </a:ln>
      </a:spPr>
      <a:bodyPr lIns="36000" tIns="36000" rIns="36000" bIns="36000" rtlCol="0" anchor="ctr"/>
      <a:lstStyle>
        <a:defPPr algn="ctr">
          <a:defRPr sz="14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68</TotalTime>
  <Words>1487</Words>
  <Application>Microsoft Office PowerPoint</Application>
  <PresentationFormat>Panorámica</PresentationFormat>
  <Paragraphs>330</Paragraphs>
  <Slides>10</Slides>
  <Notes>10</Notes>
  <HiddenSlides>1</HiddenSlides>
  <MMClips>0</MMClips>
  <ScaleCrop>false</ScaleCrop>
  <HeadingPairs>
    <vt:vector size="8" baseType="variant">
      <vt:variant>
        <vt:lpstr>Fuentes usadas</vt:lpstr>
      </vt:variant>
      <vt:variant>
        <vt:i4>6</vt:i4>
      </vt:variant>
      <vt:variant>
        <vt:lpstr>Tema</vt:lpstr>
      </vt:variant>
      <vt:variant>
        <vt:i4>3</vt:i4>
      </vt:variant>
      <vt:variant>
        <vt:lpstr>Servidores OLE incrustados</vt:lpstr>
      </vt:variant>
      <vt:variant>
        <vt:i4>1</vt:i4>
      </vt:variant>
      <vt:variant>
        <vt:lpstr>Títulos de diapositiva</vt:lpstr>
      </vt:variant>
      <vt:variant>
        <vt:i4>10</vt:i4>
      </vt:variant>
    </vt:vector>
  </HeadingPairs>
  <TitlesOfParts>
    <vt:vector size="20" baseType="lpstr">
      <vt:lpstr>Arial</vt:lpstr>
      <vt:lpstr>Calibri</vt:lpstr>
      <vt:lpstr>Calibri Light</vt:lpstr>
      <vt:lpstr>Times New Roman</vt:lpstr>
      <vt:lpstr>Wingdings</vt:lpstr>
      <vt:lpstr>Wingdings,Sans-Serif</vt:lpstr>
      <vt:lpstr>1_20151203-PPT USO INTERNO ACHS</vt:lpstr>
      <vt:lpstr>1_Tema de Office</vt:lpstr>
      <vt:lpstr>Tema de Office</vt:lpstr>
      <vt:lpstr>Diapositiva de think-cell</vt:lpstr>
      <vt:lpstr>Manejando el impacto en la Salud Mental para un retorno seguro. </vt:lpstr>
      <vt:lpstr>PANDEMIA Y SALUD MENTAL </vt:lpstr>
      <vt:lpstr>Agenda    </vt:lpstr>
      <vt:lpstr>Agenda</vt:lpstr>
      <vt:lpstr> Liderazgo en una crisis RECOMENDACIONES FUNDAMENTALES </vt:lpstr>
      <vt:lpstr>Comunicaciones en situaciones de COVID-19 Cómo contener a trabajadores en crisis </vt:lpstr>
      <vt:lpstr>Agenda</vt:lpstr>
      <vt:lpstr>Estrategias de Afrontamiento centrados en los problemas Anticipación y planeación</vt:lpstr>
      <vt:lpstr>   conclusiones  </vt:lpstr>
      <vt:lpstr>Presentación de PowerPoint</vt:lpstr>
    </vt:vector>
  </TitlesOfParts>
  <Company>Asociación Chilena de Segurida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ppelgren Poblete, Cristina Makarena</dc:creator>
  <cp:lastModifiedBy>Appelgren Poblete, Cristina Makarena</cp:lastModifiedBy>
  <cp:revision>87</cp:revision>
  <dcterms:created xsi:type="dcterms:W3CDTF">2020-07-13T03:19:30Z</dcterms:created>
  <dcterms:modified xsi:type="dcterms:W3CDTF">2021-10-27T14:44:55Z</dcterms:modified>
</cp:coreProperties>
</file>